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s/slide47.xml" ContentType="application/vnd.openxmlformats-officedocument.presentationml.slide+xml"/>
  <Override PartName="/ppt/slides/slide58.xml" ContentType="application/vnd.openxmlformats-officedocument.presentationml.slide+xml"/>
  <Override PartName="/ppt/theme/theme5.xml" ContentType="application/vnd.openxmlformats-officedocument.them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slides/slide36.xml" ContentType="application/vnd.openxmlformats-officedocument.presentationml.slide+xml"/>
  <Override PartName="/ppt/slideLayouts/slideLayout46.xml" ContentType="application/vnd.openxmlformats-officedocument.presentationml.slideLayout+xml"/>
  <Override PartName="/ppt/diagrams/colors11.xml" ContentType="application/vnd.openxmlformats-officedocument.drawingml.diagramColors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diagrams/layout9.xml" ContentType="application/vnd.openxmlformats-officedocument.drawingml.diagramLayout+xml"/>
  <Override PartName="/ppt/tags/tag49.xml" ContentType="application/vnd.openxmlformats-officedocument.presentationml.tags+xml"/>
  <Override PartName="/ppt/diagrams/data13.xml" ContentType="application/vnd.openxmlformats-officedocument.drawingml.diagramData+xml"/>
  <Default Extension="xml" ContentType="application/xml"/>
  <Override PartName="/ppt/slides/slide14.xml" ContentType="application/vnd.openxmlformats-officedocument.presentationml.slide+xml"/>
  <Override PartName="/ppt/slides/slide50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38.xml" ContentType="application/vnd.openxmlformats-officedocument.presentationml.tags+xml"/>
  <Override PartName="/ppt/diagrams/quickStyle17.xml" ContentType="application/vnd.openxmlformats-officedocument.drawingml.diagramStyle+xml"/>
  <Override PartName="/ppt/diagrams/drawing18.xml" ContentType="application/vnd.ms-office.drawingml.diagramDrawing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diagrams/layout17.xml" ContentType="application/vnd.openxmlformats-officedocument.drawingml.diagramLayout+xml"/>
  <Override PartName="/ppt/tags/tag52.xml" ContentType="application/vnd.openxmlformats-officedocument.presentationml.tags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tags/tag41.xml" ContentType="application/vnd.openxmlformats-officedocument.presentationml.tags+xml"/>
  <Override PartName="/ppt/notesSlides/notesSlide7.xml" ContentType="application/vnd.openxmlformats-officedocument.presentationml.notesSlide+xml"/>
  <Override PartName="/ppt/diagrams/quickStyle20.xml" ContentType="application/vnd.openxmlformats-officedocument.drawingml.diagramStyle+xml"/>
  <Override PartName="/ppt/diagrams/drawing21.xml" ContentType="application/vnd.ms-office.drawingml.diagramDrawing+xml"/>
  <Override PartName="/ppt/diagrams/colors4.xml" ContentType="application/vnd.openxmlformats-officedocument.drawingml.diagramColors+xml"/>
  <Override PartName="/ppt/diagrams/drawing10.xml" ContentType="application/vnd.ms-office.drawingml.diagramDrawing+xml"/>
  <Override PartName="/ppt/tags/tag30.xml" ContentType="application/vnd.openxmlformats-officedocument.presentationml.tags+xml"/>
  <Override PartName="/ppt/diagrams/colors16.xml" ContentType="application/vnd.openxmlformats-officedocument.drawingml.diagramColors+xml"/>
  <Override PartName="/ppt/diagrams/data18.xml" ContentType="application/vnd.openxmlformats-officedocument.drawingml.diagramData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Default Extension="png" ContentType="image/png"/>
  <Override PartName="/ppt/diagrams/drawing3.xml" ContentType="application/vnd.ms-office.drawingml.diagramDrawing+xml"/>
  <Override PartName="/ppt/diagrams/layout20.xml" ContentType="application/vnd.openxmlformats-officedocument.drawingml.diagramLayout+xml"/>
  <Override PartName="/ppt/slides/slide55.xml" ContentType="application/vnd.openxmlformats-officedocument.presentationml.slide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diagrams/quickStyle3.xml" ContentType="application/vnd.openxmlformats-officedocument.drawingml.diagramStyl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Layouts/slideLayout43.xml" ContentType="application/vnd.openxmlformats-officedocument.presentationml.slideLayout+xml"/>
  <Default Extension="emf" ContentType="image/x-emf"/>
  <Override PartName="/ppt/tags/tag68.xml" ContentType="application/vnd.openxmlformats-officedocument.presentationml.tags+xml"/>
  <Override PartName="/ppt/diagrams/data21.xml" ContentType="application/vnd.openxmlformats-officedocument.drawingml.diagramData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Layouts/slideLayout32.xml" ContentType="application/vnd.openxmlformats-officedocument.presentationml.slideLayout+xml"/>
  <Override PartName="/ppt/diagrams/layout6.xml" ContentType="application/vnd.openxmlformats-officedocument.drawingml.diagramLayout+xml"/>
  <Override PartName="/ppt/diagrams/data10.xml" ContentType="application/vnd.openxmlformats-officedocument.drawingml.diagramData+xml"/>
  <Override PartName="/ppt/tags/tag5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21.xml" ContentType="application/vnd.openxmlformats-officedocument.presentationml.slideLayout+xml"/>
  <Override PartName="/ppt/diagrams/data7.xml" ContentType="application/vnd.openxmlformats-officedocument.drawingml.diagramData+xml"/>
  <Override PartName="/ppt/diagrams/colors9.xml" ContentType="application/vnd.openxmlformats-officedocument.drawingml.diagramColor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diagrams/quickStyle14.xml" ContentType="application/vnd.openxmlformats-officedocument.drawingml.diagramStyle+xml"/>
  <Override PartName="/ppt/diagrams/drawing15.xml" ContentType="application/vnd.ms-office.drawingml.diagramDrawing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diagrams/drawing8.xml" ContentType="application/vnd.ms-office.drawingml.diagramDrawing+xml"/>
  <Override PartName="/ppt/tags/tag71.xml" ContentType="application/vnd.openxmlformats-officedocument.presentationml.tags+xml"/>
  <Override PartName="/ppt/tags/tag13.xml" ContentType="application/vnd.openxmlformats-officedocument.presentationml.tags+xml"/>
  <Override PartName="/ppt/diagrams/quickStyle8.xml" ContentType="application/vnd.openxmlformats-officedocument.drawingml.diagramStyle+xml"/>
  <Override PartName="/ppt/diagrams/layout14.xml" ContentType="application/vnd.openxmlformats-officedocument.drawingml.diagramLayout+xml"/>
  <Override PartName="/ppt/tags/tag60.xml" ContentType="application/vnd.openxmlformats-officedocument.presentationml.tags+xml"/>
  <Override PartName="/ppt/slideMasters/slideMaster5.xml" ContentType="application/vnd.openxmlformats-officedocument.presentationml.slideMaster+xml"/>
  <Override PartName="/ppt/slides/slide49.xml" ContentType="application/vnd.openxmlformats-officedocument.presentationml.slide+xml"/>
  <Override PartName="/ppt/theme/theme7.xml" ContentType="application/vnd.openxmlformats-officedocument.theme+xml"/>
  <Override PartName="/ppt/notesSlides/notesSlide4.xml" ContentType="application/vnd.openxmlformats-officedocument.presentationml.notesSlide+xml"/>
  <Override PartName="/ppt/slides/slide38.xml" ContentType="application/vnd.openxmlformats-officedocument.presentationml.slide+xml"/>
  <Override PartName="/ppt/diagrams/colors1.xml" ContentType="application/vnd.openxmlformats-officedocument.drawingml.diagramColors+xml"/>
  <Override PartName="/ppt/diagrams/colors13.xml" ContentType="application/vnd.openxmlformats-officedocument.drawingml.diagramColors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37.xml" ContentType="application/vnd.openxmlformats-officedocument.presentationml.slideLayout+xml"/>
  <Override PartName="/ppt/diagrams/data15.xml" ContentType="application/vnd.openxmlformats-officedocument.drawingml.diagramData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52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Default Extension="wmf" ContentType="image/x-wmf"/>
  <Override PartName="/ppt/diagrams/quickStyle19.xml" ContentType="application/vnd.openxmlformats-officedocument.drawingml.diagramStyle+xml"/>
  <Override PartName="/ppt/slides/slide41.xml" ContentType="application/vnd.openxmlformats-officedocument.presentationml.slide+xml"/>
  <Override PartName="/ppt/tags/tag29.xml" ContentType="application/vnd.openxmlformats-officedocument.presentationml.tags+xml"/>
  <Override PartName="/ppt/slides/slide30.xml" ContentType="application/vnd.openxmlformats-officedocument.presentationml.slide+xml"/>
  <Override PartName="/ppt/slideLayouts/slideLayout40.xml" ContentType="application/vnd.openxmlformats-officedocument.presentationml.slideLayout+xml"/>
  <Override PartName="/ppt/tags/tag18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diagrams/layout19.xml" ContentType="application/vnd.openxmlformats-officedocument.drawingml.diagramLayout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tags/tag43.xml" ContentType="application/vnd.openxmlformats-officedocument.presentationml.tags+xml"/>
  <Override PartName="/ppt/slideMasters/slideMaster6.xml" ContentType="application/vnd.openxmlformats-officedocument.presentationml.slideMaster+xml"/>
  <Override PartName="/ppt/theme/theme8.xml" ContentType="application/vnd.openxmlformats-officedocument.theme+xml"/>
  <Override PartName="/ppt/diagrams/colors6.xml" ContentType="application/vnd.openxmlformats-officedocument.drawingml.diagramColors+xml"/>
  <Override PartName="/ppt/diagrams/quickStyle9.xml" ContentType="application/vnd.openxmlformats-officedocument.drawingml.diagramStyle+xml"/>
  <Override PartName="/ppt/diagrams/quickStyle11.xml" ContentType="application/vnd.openxmlformats-officedocument.drawingml.diagramStyle+xml"/>
  <Override PartName="/ppt/diagrams/drawing12.xml" ContentType="application/vnd.ms-office.drawingml.diagramDrawing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diagrams/colors18.xml" ContentType="application/vnd.openxmlformats-officedocument.drawingml.diagramColors+xml"/>
  <Override PartName="/customXml/itemProps4.xml" ContentType="application/vnd.openxmlformats-officedocument.customXmlPropertie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diagrams/drawing5.xml" ContentType="application/vnd.ms-office.drawingml.diagramDrawing+xml"/>
  <Override PartName="/ppt/tags/tag21.xml" ContentType="application/vnd.openxmlformats-officedocument.presentationml.tags+xml"/>
  <Override PartName="/ppt/diagrams/layout11.xml" ContentType="application/vnd.openxmlformats-officedocument.drawingml.diagramLayout+xml"/>
  <Override PartName="/ppt/notesSlides/notesSlide5.xml" ContentType="application/vnd.openxmlformats-officedocument.presentationml.notesSlide+xml"/>
  <Override PartName="/ppt/diagrams/colors14.xml" ContentType="application/vnd.openxmlformats-officedocument.drawingml.diagramColors+xml"/>
  <Override PartName="/ppt/slideMasters/slideMaster2.xml" ContentType="application/vnd.openxmlformats-officedocument.presentationml.slideMaster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57.xml" ContentType="application/vnd.openxmlformats-officedocument.presentationml.slide+xml"/>
  <Override PartName="/ppt/theme/theme4.xml" ContentType="application/vnd.openxmlformats-officedocument.theme+xml"/>
  <Override PartName="/ppt/slideLayouts/slideLayout38.xml" ContentType="application/vnd.openxmlformats-officedocument.presentationml.slideLayout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diagrams/colors2.xml" ContentType="application/vnd.openxmlformats-officedocument.drawingml.diagramColors+xml"/>
  <Override PartName="/ppt/diagrams/quickStyle5.xml" ContentType="application/vnd.openxmlformats-officedocument.drawingml.diagramStyle+xml"/>
  <Override PartName="/ppt/diagrams/data16.xml" ContentType="application/vnd.openxmlformats-officedocument.drawingml.diagramData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45.xml" ContentType="application/vnd.openxmlformats-officedocument.presentationml.slideLayout+xml"/>
  <Override PartName="/ppt/diagrams/drawing1.xml" ContentType="application/vnd.ms-office.drawingml.diagramDrawing+xml"/>
  <Override PartName="/ppt/diagrams/colors10.xml" ContentType="application/vnd.openxmlformats-officedocument.drawingml.diagramColors+xml"/>
  <Override PartName="/ppt/diagrams/colors21.xml" ContentType="application/vnd.openxmlformats-officedocument.drawingml.diagramColors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s/slide53.xml" ContentType="application/vnd.openxmlformats-officedocument.presentationml.slide+xml"/>
  <Default Extension="jpeg" ContentType="image/jpeg"/>
  <Override PartName="/ppt/slideLayouts/slideLayout16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3.xml" ContentType="application/vnd.openxmlformats-officedocument.presentationml.tags+xml"/>
  <Override PartName="/ppt/diagrams/quickStyle1.xml" ContentType="application/vnd.openxmlformats-officedocument.drawingml.diagramStyle+xml"/>
  <Override PartName="/ppt/diagrams/layout8.xml" ContentType="application/vnd.openxmlformats-officedocument.drawingml.diagramLayout+xml"/>
  <Override PartName="/ppt/diagrams/data12.xml" ContentType="application/vnd.openxmlformats-officedocument.drawingml.diagramData+xml"/>
  <Override PartName="/ppt/tags/tag59.xml" ContentType="application/vnd.openxmlformats-officedocument.presentationml.tags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60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19.xml" ContentType="application/vnd.openxmlformats-officedocument.presentationml.tags+xml"/>
  <Override PartName="/ppt/diagrams/data9.xml" ContentType="application/vnd.openxmlformats-officedocument.drawingml.diagramData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diagrams/quickStyle16.xml" ContentType="application/vnd.openxmlformats-officedocument.drawingml.diagramStyle+xml"/>
  <Override PartName="/ppt/diagrams/drawing17.xml" ContentType="application/vnd.ms-office.drawingml.diagramDrawing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30.xml" ContentType="application/vnd.openxmlformats-officedocument.presentationml.slideLayout+xml"/>
  <Override PartName="/ppt/diagrams/layout4.xml" ContentType="application/vnd.openxmlformats-officedocument.drawingml.diagramLayou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diagrams/data5.xml" ContentType="application/vnd.openxmlformats-officedocument.drawingml.diagramData+xml"/>
  <Override PartName="/ppt/tags/tag15.xml" ContentType="application/vnd.openxmlformats-officedocument.presentationml.tags+xml"/>
  <Override PartName="/ppt/diagrams/colors7.xml" ContentType="application/vnd.openxmlformats-officedocument.drawingml.diagramColors+xml"/>
  <Override PartName="/ppt/diagrams/quickStyle12.xml" ContentType="application/vnd.openxmlformats-officedocument.drawingml.diagramStyle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diagrams/drawing13.xml" ContentType="application/vnd.ms-office.drawingml.diagramDrawing+xml"/>
  <Override PartName="/ppt/tags/tag62.xml" ContentType="application/vnd.openxmlformats-officedocument.presentationml.tags+xml"/>
  <Override PartName="/ppt/diagrams/layout16.xml" ContentType="application/vnd.openxmlformats-officedocument.drawingml.diagramLayout+xml"/>
  <Override PartName="/ppt/diagrams/colors19.xml" ContentType="application/vnd.openxmlformats-officedocument.drawingml.diagramColors+xml"/>
  <Override PartName="/ppt/diagrams/drawing6.xml" ContentType="application/vnd.ms-office.drawingml.diagramDrawing+xml"/>
  <Override PartName="/ppt/tags/tag22.xml" ContentType="application/vnd.openxmlformats-officedocument.presentationml.tags+xml"/>
  <Override PartName="/ppt/notesSlides/notesSlide6.xml" ContentType="application/vnd.openxmlformats-officedocument.presentationml.notesSlide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diagrams/drawing20.xml" ContentType="application/vnd.ms-office.drawingml.diagramDrawing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quickStyle6.xml" ContentType="application/vnd.openxmlformats-officedocument.drawingml.diagramStyle+xml"/>
  <Override PartName="/ppt/diagrams/layout12.xml" ContentType="application/vnd.openxmlformats-officedocument.drawingml.diagramLayout+xml"/>
  <Override PartName="/ppt/diagrams/colors15.xml" ContentType="application/vnd.openxmlformats-officedocument.drawingml.diagramColors+xml"/>
  <Override PartName="/ppt/slides/slide29.xml" ContentType="application/vnd.openxmlformats-officedocument.presentationml.slide+xml"/>
  <Override PartName="/ppt/slideLayouts/slideLayout39.xml" ContentType="application/vnd.openxmlformats-officedocument.presentationml.slideLayout+xml"/>
  <Override PartName="/ppt/diagrams/drawing2.xml" ContentType="application/vnd.ms-office.drawingml.diagramDrawing+xml"/>
  <Override PartName="/ppt/diagrams/data17.xml" ContentType="application/vnd.openxmlformats-officedocument.drawingml.diagramData+xml"/>
  <Override PartName="/customXml/itemProps1.xml" ContentType="application/vnd.openxmlformats-officedocument.customXmlPropertie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5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4.xml" ContentType="application/vnd.openxmlformats-officedocument.presentationml.tags+xml"/>
  <Override PartName="/ppt/diagrams/quickStyle2.xml" ContentType="application/vnd.openxmlformats-officedocument.drawingml.diagramStyle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slides/slide32.xml" ContentType="application/vnd.openxmlformats-officedocument.presentationml.slide+xml"/>
  <Override PartName="/ppt/slideLayouts/slideLayout42.xml" ContentType="application/vnd.openxmlformats-officedocument.presentationml.slideLayout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diagrams/data20.xml" ContentType="application/vnd.openxmlformats-officedocument.drawingml.diagramData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ppt/tags/tag45.xml" ContentType="application/vnd.openxmlformats-officedocument.presentationml.tags+xml"/>
  <Override PartName="/docProps/custom.xml" ContentType="application/vnd.openxmlformats-officedocument.custom-properties+xml"/>
  <Override PartName="/ppt/diagrams/colors8.xml" ContentType="application/vnd.openxmlformats-officedocument.drawingml.diagramColors+xml"/>
  <Override PartName="/ppt/tags/tag34.xml" ContentType="application/vnd.openxmlformats-officedocument.presentationml.tags+xml"/>
  <Override PartName="/ppt/diagrams/quickStyle13.xml" ContentType="application/vnd.openxmlformats-officedocument.drawingml.diagramStyle+xml"/>
  <Override PartName="/ppt/diagrams/drawing14.xml" ContentType="application/vnd.ms-office.drawingml.diagramDrawing+xml"/>
  <Override PartName="/ppt/tags/tag12.xml" ContentType="application/vnd.openxmlformats-officedocument.presentationml.tags+xml"/>
  <Override PartName="/ppt/diagrams/drawing7.xml" ContentType="application/vnd.ms-office.drawingml.diagramDrawing+xml"/>
  <Override PartName="/ppt/tags/tag23.xml" ContentType="application/vnd.openxmlformats-officedocument.presentationml.tags+xml"/>
  <Override PartName="/ppt/diagrams/layout13.xml" ContentType="application/vnd.openxmlformats-officedocument.drawingml.diagramLayout+xml"/>
  <Override PartName="/ppt/tags/tag70.xml" ContentType="application/vnd.openxmlformats-officedocument.presentationml.tags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viewProps.xml" ContentType="application/vnd.openxmlformats-officedocument.presentationml.viewProps+xml"/>
  <Override PartName="/ppt/theme/theme6.xml" ContentType="application/vnd.openxmlformats-officedocument.theme+xml"/>
  <Override PartName="/ppt/tags/tag9.xml" ContentType="application/vnd.openxmlformats-officedocument.presentationml.tags+xml"/>
  <Override PartName="/ppt/diagrams/quickStyle7.xml" ContentType="application/vnd.openxmlformats-officedocument.drawingml.diagramStyle+xml"/>
  <Override PartName="/ppt/slides/slide48.xml" ContentType="application/vnd.openxmlformats-officedocument.presentationml.slide+xml"/>
  <Override PartName="/ppt/notesSlides/notesSlide3.xml" ContentType="application/vnd.openxmlformats-officedocument.presentationml.notesSlide+xml"/>
  <Override PartName="/ppt/diagrams/colors12.xml" ContentType="application/vnd.openxmlformats-officedocument.drawingml.diagramColors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presProps.xml" ContentType="application/vnd.openxmlformats-officedocument.presentationml.presProps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diagrams/data14.xml" ContentType="application/vnd.openxmlformats-officedocument.drawingml.diagramData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39.xml" ContentType="application/vnd.openxmlformats-officedocument.presentationml.tags+xml"/>
  <Override PartName="/ppt/diagrams/drawing19.xml" ContentType="application/vnd.ms-office.drawingml.diagramDrawing+xml"/>
  <Override PartName="/ppt/slides/slide51.xml" ContentType="application/vnd.openxmlformats-officedocument.presentationml.slide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diagrams/quickStyle18.xml" ContentType="application/vnd.openxmlformats-officedocument.drawingml.diagramStyle+xml"/>
  <Override PartName="/ppt/slides/slide40.xml" ContentType="application/vnd.openxmlformats-officedocument.presentationml.slide+xml"/>
  <Override PartName="/ppt/tags/tag17.xml" ContentType="application/vnd.openxmlformats-officedocument.presentationml.tags+xml"/>
  <Override PartName="/ppt/tags/tag64.xml" ContentType="application/vnd.openxmlformats-officedocument.presentationml.tags+xml"/>
  <Override PartName="/ppt/diagrams/layout18.xml" ContentType="application/vnd.openxmlformats-officedocument.drawingml.diagramLayout+xml"/>
  <Override PartName="/ppt/diagrams/layout2.xml" ContentType="application/vnd.openxmlformats-officedocument.drawingml.diagramLayout+xml"/>
  <Override PartName="/ppt/tags/tag53.xml" ContentType="application/vnd.openxmlformats-officedocument.presentationml.tags+xml"/>
  <Override PartName="/ppt/notesSlides/notesSlide8.xml" ContentType="application/vnd.openxmlformats-officedocument.presentationml.notesSlide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diagrams/quickStyle10.xml" ContentType="application/vnd.openxmlformats-officedocument.drawingml.diagramStyle+xml"/>
  <Override PartName="/ppt/diagrams/drawing11.xml" ContentType="application/vnd.ms-office.drawingml.diagramDrawing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diagrams/colors17.xml" ContentType="application/vnd.openxmlformats-officedocument.drawingml.diagramColors+xml"/>
  <Override PartName="/ppt/diagrams/quickStyle21.xml" ContentType="application/vnd.openxmlformats-officedocument.drawingml.diagramStyle+xml"/>
  <Override PartName="/ppt/handoutMasters/handoutMaster1.xml" ContentType="application/vnd.openxmlformats-officedocument.presentationml.handoutMaster+xml"/>
  <Override PartName="/ppt/diagrams/drawing4.xml" ContentType="application/vnd.ms-office.drawingml.diagramDrawing+xml"/>
  <Override PartName="/ppt/tags/tag20.xml" ContentType="application/vnd.openxmlformats-officedocument.presentationml.tags+xml"/>
  <Override PartName="/ppt/diagrams/data19.xml" ContentType="application/vnd.openxmlformats-officedocument.drawingml.diagramData+xml"/>
  <Override PartName="/ppt/diagrams/layout21.xml" ContentType="application/vnd.openxmlformats-officedocument.drawingml.diagramLayout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s/slide5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diagrams/quickStyle4.xml" ContentType="application/vnd.openxmlformats-officedocument.drawingml.diagramStyle+xml"/>
  <Override PartName="/ppt/diagrams/layout10.xml" ContentType="application/vnd.openxmlformats-officedocument.drawingml.diagramLayout+xml"/>
  <Override PartName="/ppt/slideMasters/slideMaster1.xml" ContentType="application/vnd.openxmlformats-officedocument.presentationml.slideMaster+xml"/>
  <Override PartName="/ppt/slides/slide45.xml" ContentType="application/vnd.openxmlformats-officedocument.presentationml.slide+xml"/>
  <Override PartName="/ppt/theme/theme3.xml" ContentType="application/vnd.openxmlformats-officedocument.theme+xml"/>
  <Override PartName="/ppt/diagrams/colors20.xml" ContentType="application/vnd.openxmlformats-officedocument.drawingml.diagramColors+xml"/>
  <Override PartName="/ppt/slides/slide34.xml" ContentType="application/vnd.openxmlformats-officedocument.presentationml.slide+xml"/>
  <Override PartName="/ppt/slideLayouts/slideLayout44.xml" ContentType="application/vnd.openxmlformats-officedocument.presentationml.slideLayout+xml"/>
  <Override PartName="/ppt/diagrams/data11.xml" ContentType="application/vnd.openxmlformats-officedocument.drawingml.diagramData+xml"/>
  <Override PartName="/ppt/tags/tag58.xml" ContentType="application/vnd.openxmlformats-officedocument.presentationml.tags+xml"/>
  <Override PartName="/ppt/tags/tag69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diagrams/layout7.xml" ContentType="application/vnd.openxmlformats-officedocument.drawingml.diagramLayout+xml"/>
  <Override PartName="/ppt/diagrams/data8.xml" ContentType="application/vnd.openxmlformats-officedocument.drawingml.diagramData+xml"/>
  <Override PartName="/ppt/tags/tag47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36.xml" ContentType="application/vnd.openxmlformats-officedocument.presentationml.tags+xml"/>
  <Override PartName="/ppt/diagrams/quickStyle15.xml" ContentType="application/vnd.openxmlformats-officedocument.drawingml.diagramStyle+xml"/>
  <Override PartName="/ppt/diagrams/drawing16.xml" ContentType="application/vnd.ms-office.drawingml.diagramDrawing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diagrams/drawing9.xml" ContentType="application/vnd.ms-office.drawingml.diagramDrawing+xml"/>
  <Override PartName="/ppt/diagrams/layout15.xml" ContentType="application/vnd.openxmlformats-officedocument.drawingml.diagramLayout+xml"/>
  <Override PartName="/ppt/tags/tag61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>
  <p:sldMasterIdLst>
    <p:sldMasterId id="2147483673" r:id="rId5"/>
    <p:sldMasterId id="2147484551" r:id="rId6"/>
    <p:sldMasterId id="2147484532" r:id="rId7"/>
    <p:sldMasterId id="2147484541" r:id="rId8"/>
    <p:sldMasterId id="2147484945" r:id="rId9"/>
    <p:sldMasterId id="2147484951" r:id="rId10"/>
  </p:sldMasterIdLst>
  <p:notesMasterIdLst>
    <p:notesMasterId r:id="rId71"/>
  </p:notesMasterIdLst>
  <p:handoutMasterIdLst>
    <p:handoutMasterId r:id="rId72"/>
  </p:handoutMasterIdLst>
  <p:sldIdLst>
    <p:sldId id="526" r:id="rId11"/>
    <p:sldId id="777" r:id="rId12"/>
    <p:sldId id="782" r:id="rId13"/>
    <p:sldId id="784" r:id="rId14"/>
    <p:sldId id="770" r:id="rId15"/>
    <p:sldId id="771" r:id="rId16"/>
    <p:sldId id="772" r:id="rId17"/>
    <p:sldId id="773" r:id="rId18"/>
    <p:sldId id="741" r:id="rId19"/>
    <p:sldId id="742" r:id="rId20"/>
    <p:sldId id="778" r:id="rId21"/>
    <p:sldId id="758" r:id="rId22"/>
    <p:sldId id="754" r:id="rId23"/>
    <p:sldId id="775" r:id="rId24"/>
    <p:sldId id="755" r:id="rId25"/>
    <p:sldId id="756" r:id="rId26"/>
    <p:sldId id="757" r:id="rId27"/>
    <p:sldId id="787" r:id="rId28"/>
    <p:sldId id="748" r:id="rId29"/>
    <p:sldId id="776" r:id="rId30"/>
    <p:sldId id="779" r:id="rId31"/>
    <p:sldId id="749" r:id="rId32"/>
    <p:sldId id="780" r:id="rId33"/>
    <p:sldId id="786" r:id="rId34"/>
    <p:sldId id="723" r:id="rId35"/>
    <p:sldId id="774" r:id="rId36"/>
    <p:sldId id="634" r:id="rId37"/>
    <p:sldId id="724" r:id="rId38"/>
    <p:sldId id="728" r:id="rId39"/>
    <p:sldId id="731" r:id="rId40"/>
    <p:sldId id="726" r:id="rId41"/>
    <p:sldId id="705" r:id="rId42"/>
    <p:sldId id="760" r:id="rId43"/>
    <p:sldId id="761" r:id="rId44"/>
    <p:sldId id="762" r:id="rId45"/>
    <p:sldId id="763" r:id="rId46"/>
    <p:sldId id="764" r:id="rId47"/>
    <p:sldId id="765" r:id="rId48"/>
    <p:sldId id="785" r:id="rId49"/>
    <p:sldId id="788" r:id="rId50"/>
    <p:sldId id="812" r:id="rId51"/>
    <p:sldId id="789" r:id="rId52"/>
    <p:sldId id="813" r:id="rId53"/>
    <p:sldId id="791" r:id="rId54"/>
    <p:sldId id="792" r:id="rId55"/>
    <p:sldId id="794" r:id="rId56"/>
    <p:sldId id="796" r:id="rId57"/>
    <p:sldId id="797" r:id="rId58"/>
    <p:sldId id="798" r:id="rId59"/>
    <p:sldId id="799" r:id="rId60"/>
    <p:sldId id="814" r:id="rId61"/>
    <p:sldId id="790" r:id="rId62"/>
    <p:sldId id="802" r:id="rId63"/>
    <p:sldId id="801" r:id="rId64"/>
    <p:sldId id="805" r:id="rId65"/>
    <p:sldId id="809" r:id="rId66"/>
    <p:sldId id="810" r:id="rId67"/>
    <p:sldId id="811" r:id="rId68"/>
    <p:sldId id="783" r:id="rId69"/>
    <p:sldId id="716" r:id="rId70"/>
  </p:sldIdLst>
  <p:sldSz cx="9144000" cy="6858000" type="screen4x3"/>
  <p:notesSz cx="6858000" cy="914400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sz="2400" b="1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sz="2400" b="1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sz="2400" b="1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sz="2400" b="1" kern="1200">
        <a:solidFill>
          <a:schemeClr val="tx1"/>
        </a:solidFill>
        <a:latin typeface="Arial" pitchFamily="34" charset="0"/>
        <a:ea typeface="ＭＳ Ｐゴシック" pitchFamily="34" charset="-128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800000"/>
    <a:srgbClr val="FF0000"/>
    <a:srgbClr val="CC0000"/>
    <a:srgbClr val="FFFFCC"/>
    <a:srgbClr val="FF9900"/>
    <a:srgbClr val="000000"/>
    <a:srgbClr val="000099"/>
    <a:srgbClr val="FFCC00"/>
    <a:srgbClr val="CCFFCC"/>
    <a:srgbClr val="CC99FF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Estilo claro 1 - Acento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DA37D80-6434-44D0-A028-1B22A696006F}" styleName="Estilo claro 3 - Acento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BDBED569-4797-4DF1-A0F4-6AAB3CD982D8}" styleName="Estilo claro 3 - Acento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BC89EF96-8CEA-46FF-86C4-4CE0E7609802}" styleName="Estilo claro 3 - Acento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226" autoAdjust="0"/>
    <p:restoredTop sz="98205" autoAdjust="0"/>
  </p:normalViewPr>
  <p:slideViewPr>
    <p:cSldViewPr>
      <p:cViewPr>
        <p:scale>
          <a:sx n="60" d="100"/>
          <a:sy n="60" d="100"/>
        </p:scale>
        <p:origin x="-798" y="354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70" d="100"/>
        <a:sy n="170" d="100"/>
      </p:scale>
      <p:origin x="0" y="38082"/>
    </p:cViewPr>
  </p:sorterViewPr>
  <p:notesViewPr>
    <p:cSldViewPr>
      <p:cViewPr varScale="1">
        <p:scale>
          <a:sx n="56" d="100"/>
          <a:sy n="56" d="100"/>
        </p:scale>
        <p:origin x="-2874" y="-84"/>
      </p:cViewPr>
      <p:guideLst>
        <p:guide orient="horz" pos="2880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slide" Target="slides/slide29.xml"/><Relationship Id="rId21" Type="http://schemas.openxmlformats.org/officeDocument/2006/relationships/slide" Target="slides/slide11.xml"/><Relationship Id="rId34" Type="http://schemas.openxmlformats.org/officeDocument/2006/relationships/slide" Target="slides/slide24.xml"/><Relationship Id="rId42" Type="http://schemas.openxmlformats.org/officeDocument/2006/relationships/slide" Target="slides/slide32.xml"/><Relationship Id="rId47" Type="http://schemas.openxmlformats.org/officeDocument/2006/relationships/slide" Target="slides/slide37.xml"/><Relationship Id="rId50" Type="http://schemas.openxmlformats.org/officeDocument/2006/relationships/slide" Target="slides/slide40.xml"/><Relationship Id="rId55" Type="http://schemas.openxmlformats.org/officeDocument/2006/relationships/slide" Target="slides/slide45.xml"/><Relationship Id="rId63" Type="http://schemas.openxmlformats.org/officeDocument/2006/relationships/slide" Target="slides/slide53.xml"/><Relationship Id="rId68" Type="http://schemas.openxmlformats.org/officeDocument/2006/relationships/slide" Target="slides/slide58.xml"/><Relationship Id="rId76" Type="http://schemas.openxmlformats.org/officeDocument/2006/relationships/tableStyles" Target="tableStyles.xml"/><Relationship Id="rId7" Type="http://schemas.openxmlformats.org/officeDocument/2006/relationships/slideMaster" Target="slideMasters/slideMaster3.xml"/><Relationship Id="rId71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9" Type="http://schemas.openxmlformats.org/officeDocument/2006/relationships/slide" Target="slides/slide19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slide" Target="slides/slide27.xml"/><Relationship Id="rId40" Type="http://schemas.openxmlformats.org/officeDocument/2006/relationships/slide" Target="slides/slide30.xml"/><Relationship Id="rId45" Type="http://schemas.openxmlformats.org/officeDocument/2006/relationships/slide" Target="slides/slide35.xml"/><Relationship Id="rId53" Type="http://schemas.openxmlformats.org/officeDocument/2006/relationships/slide" Target="slides/slide43.xml"/><Relationship Id="rId58" Type="http://schemas.openxmlformats.org/officeDocument/2006/relationships/slide" Target="slides/slide48.xml"/><Relationship Id="rId66" Type="http://schemas.openxmlformats.org/officeDocument/2006/relationships/slide" Target="slides/slide56.xml"/><Relationship Id="rId74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slide" Target="slides/slide26.xml"/><Relationship Id="rId49" Type="http://schemas.openxmlformats.org/officeDocument/2006/relationships/slide" Target="slides/slide39.xml"/><Relationship Id="rId57" Type="http://schemas.openxmlformats.org/officeDocument/2006/relationships/slide" Target="slides/slide47.xml"/><Relationship Id="rId61" Type="http://schemas.openxmlformats.org/officeDocument/2006/relationships/slide" Target="slides/slide51.xml"/><Relationship Id="rId10" Type="http://schemas.openxmlformats.org/officeDocument/2006/relationships/slideMaster" Target="slideMasters/slideMaster6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4" Type="http://schemas.openxmlformats.org/officeDocument/2006/relationships/slide" Target="slides/slide34.xml"/><Relationship Id="rId52" Type="http://schemas.openxmlformats.org/officeDocument/2006/relationships/slide" Target="slides/slide42.xml"/><Relationship Id="rId60" Type="http://schemas.openxmlformats.org/officeDocument/2006/relationships/slide" Target="slides/slide50.xml"/><Relationship Id="rId65" Type="http://schemas.openxmlformats.org/officeDocument/2006/relationships/slide" Target="slides/slide55.xml"/><Relationship Id="rId73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43" Type="http://schemas.openxmlformats.org/officeDocument/2006/relationships/slide" Target="slides/slide33.xml"/><Relationship Id="rId48" Type="http://schemas.openxmlformats.org/officeDocument/2006/relationships/slide" Target="slides/slide38.xml"/><Relationship Id="rId56" Type="http://schemas.openxmlformats.org/officeDocument/2006/relationships/slide" Target="slides/slide46.xml"/><Relationship Id="rId64" Type="http://schemas.openxmlformats.org/officeDocument/2006/relationships/slide" Target="slides/slide54.xml"/><Relationship Id="rId69" Type="http://schemas.openxmlformats.org/officeDocument/2006/relationships/slide" Target="slides/slide59.xml"/><Relationship Id="rId8" Type="http://schemas.openxmlformats.org/officeDocument/2006/relationships/slideMaster" Target="slideMasters/slideMaster4.xml"/><Relationship Id="rId51" Type="http://schemas.openxmlformats.org/officeDocument/2006/relationships/slide" Target="slides/slide41.xml"/><Relationship Id="rId72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slide" Target="slides/slide28.xml"/><Relationship Id="rId46" Type="http://schemas.openxmlformats.org/officeDocument/2006/relationships/slide" Target="slides/slide36.xml"/><Relationship Id="rId59" Type="http://schemas.openxmlformats.org/officeDocument/2006/relationships/slide" Target="slides/slide49.xml"/><Relationship Id="rId67" Type="http://schemas.openxmlformats.org/officeDocument/2006/relationships/slide" Target="slides/slide57.xml"/><Relationship Id="rId20" Type="http://schemas.openxmlformats.org/officeDocument/2006/relationships/slide" Target="slides/slide10.xml"/><Relationship Id="rId41" Type="http://schemas.openxmlformats.org/officeDocument/2006/relationships/slide" Target="slides/slide31.xml"/><Relationship Id="rId54" Type="http://schemas.openxmlformats.org/officeDocument/2006/relationships/slide" Target="slides/slide44.xml"/><Relationship Id="rId62" Type="http://schemas.openxmlformats.org/officeDocument/2006/relationships/slide" Target="slides/slide52.xml"/><Relationship Id="rId70" Type="http://schemas.openxmlformats.org/officeDocument/2006/relationships/slide" Target="slides/slide60.xml"/><Relationship Id="rId75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4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5.xml><?xml version="1.0" encoding="utf-8"?>
<dgm:colorsDef xmlns:dgm="http://schemas.openxmlformats.org/drawingml/2006/diagram" xmlns:a="http://schemas.openxmlformats.org/drawingml/2006/main" uniqueId="urn:microsoft.com/office/officeart/2005/8/colors/accent4_1">
  <dgm:title val=""/>
  <dgm:desc val=""/>
  <dgm:catLst>
    <dgm:cat type="accent4" pri="11100"/>
  </dgm:catLst>
  <dgm:styleLbl name="node0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4">
        <a:tint val="4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4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4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4">
        <a:alpha val="4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4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4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4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6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7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8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9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0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1.xml><?xml version="1.0" encoding="utf-8"?>
<dgm:colorsDef xmlns:dgm="http://schemas.openxmlformats.org/drawingml/2006/diagram" xmlns:a="http://schemas.openxmlformats.org/drawingml/2006/main" uniqueId="urn:microsoft.com/office/officeart/2005/8/colors/colorful2">
  <dgm:title val=""/>
  <dgm:desc val=""/>
  <dgm:catLst>
    <dgm:cat type="colorful" pri="10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2"/>
      <a:schemeClr val="accent3"/>
    </dgm:fillClrLst>
    <dgm:linClrLst>
      <a:schemeClr val="accent2"/>
      <a:schemeClr val="accent3"/>
    </dgm:linClrLst>
    <dgm:effectClrLst/>
    <dgm:txLinClrLst/>
    <dgm:txFillClrLst/>
    <dgm:txEffectClrLst/>
  </dgm:styleLbl>
  <dgm:styleLbl name="lnNode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2">
        <a:alpha val="5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2">
        <a:tint val="50000"/>
      </a:schemeClr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2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2"/>
      <a:schemeClr val="accent3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2"/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>
        <a:tint val="5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2"/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2">
        <a:tint val="40000"/>
        <a:alpha val="90000"/>
      </a:schemeClr>
      <a:schemeClr val="accent3">
        <a:tint val="40000"/>
        <a:alpha val="90000"/>
      </a:schemeClr>
    </dgm:fillClrLst>
    <dgm:linClrLst>
      <a:schemeClr val="accent2">
        <a:tint val="40000"/>
        <a:alpha val="90000"/>
      </a:schemeClr>
      <a:schemeClr val="accent3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6_1">
  <dgm:title val=""/>
  <dgm:desc val=""/>
  <dgm:catLst>
    <dgm:cat type="accent6" pri="11100"/>
  </dgm:catLst>
  <dgm:styleLbl name="node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6">
        <a:alpha val="4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5_1">
  <dgm:title val=""/>
  <dgm:desc val=""/>
  <dgm:catLst>
    <dgm:cat type="accent5" pri="11100"/>
  </dgm:catLst>
  <dgm:styleLbl name="node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4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5">
        <a:alpha val="4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5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5">
        <a:alpha val="90000"/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26C4A32-26E5-4629-9D88-1162318419E4}" type="doc">
      <dgm:prSet loTypeId="urn:diagrams.loki3.com/BracketList+Icon" loCatId="list" qsTypeId="urn:microsoft.com/office/officeart/2005/8/quickstyle/simple3" qsCatId="simple" csTypeId="urn:microsoft.com/office/officeart/2005/8/colors/colorful2" csCatId="colorful" phldr="1"/>
      <dgm:spPr/>
      <dgm:t>
        <a:bodyPr/>
        <a:lstStyle/>
        <a:p>
          <a:endParaRPr lang="es-CO"/>
        </a:p>
      </dgm:t>
    </dgm:pt>
    <dgm:pt modelId="{064469A7-2962-4514-AE1B-48CAD74B89F5}">
      <dgm:prSet phldrT="[Texto]"/>
      <dgm:spPr/>
      <dgm:t>
        <a:bodyPr/>
        <a:lstStyle/>
        <a:p>
          <a:pPr algn="ctr"/>
          <a:r>
            <a:rPr lang="es-CO" dirty="0" smtClean="0"/>
            <a:t>Ubicación de la oferta</a:t>
          </a:r>
          <a:endParaRPr lang="es-CO" dirty="0"/>
        </a:p>
      </dgm:t>
    </dgm:pt>
    <dgm:pt modelId="{0F211821-030A-4EBD-B54E-3554C274DEE9}" type="parTrans" cxnId="{B6CE68F1-354D-48AA-A353-4D7206C14F10}">
      <dgm:prSet/>
      <dgm:spPr/>
      <dgm:t>
        <a:bodyPr/>
        <a:lstStyle/>
        <a:p>
          <a:endParaRPr lang="es-CO"/>
        </a:p>
      </dgm:t>
    </dgm:pt>
    <dgm:pt modelId="{7241934F-60BE-4D04-8C7C-C96DD0962BBB}" type="sibTrans" cxnId="{B6CE68F1-354D-48AA-A353-4D7206C14F10}">
      <dgm:prSet/>
      <dgm:spPr/>
      <dgm:t>
        <a:bodyPr/>
        <a:lstStyle/>
        <a:p>
          <a:endParaRPr lang="es-CO"/>
        </a:p>
      </dgm:t>
    </dgm:pt>
    <dgm:pt modelId="{35DA1D30-9EC9-4EBE-9C91-9A643D32F9F5}">
      <dgm:prSet phldrT="[Texto]"/>
      <dgm:spPr/>
      <dgm:t>
        <a:bodyPr/>
        <a:lstStyle/>
        <a:p>
          <a:r>
            <a:rPr lang="es-CO" dirty="0" smtClean="0"/>
            <a:t>Alternativo a la educación superior. </a:t>
          </a:r>
          <a:endParaRPr lang="es-CO" dirty="0"/>
        </a:p>
      </dgm:t>
    </dgm:pt>
    <dgm:pt modelId="{549E60F3-BDB3-4FC6-A633-90881DA1F755}" type="parTrans" cxnId="{379FA818-B5AE-4FB7-BEAB-8D5D84F6B6B4}">
      <dgm:prSet/>
      <dgm:spPr/>
      <dgm:t>
        <a:bodyPr/>
        <a:lstStyle/>
        <a:p>
          <a:endParaRPr lang="es-CO"/>
        </a:p>
      </dgm:t>
    </dgm:pt>
    <dgm:pt modelId="{B99AD4D2-DC8D-441A-8483-3605EF280F8B}" type="sibTrans" cxnId="{379FA818-B5AE-4FB7-BEAB-8D5D84F6B6B4}">
      <dgm:prSet/>
      <dgm:spPr/>
      <dgm:t>
        <a:bodyPr/>
        <a:lstStyle/>
        <a:p>
          <a:endParaRPr lang="es-CO"/>
        </a:p>
      </dgm:t>
    </dgm:pt>
    <dgm:pt modelId="{51987483-877F-4768-8A56-8A26B0A33A8B}">
      <dgm:prSet phldrT="[Texto]"/>
      <dgm:spPr/>
      <dgm:t>
        <a:bodyPr/>
        <a:lstStyle/>
        <a:p>
          <a:pPr algn="ctr"/>
          <a:r>
            <a:rPr lang="es-CO" dirty="0" smtClean="0"/>
            <a:t>Modelos de formación</a:t>
          </a:r>
          <a:endParaRPr lang="es-CO" dirty="0"/>
        </a:p>
      </dgm:t>
    </dgm:pt>
    <dgm:pt modelId="{C0C38A25-F317-48A5-9213-A82F9BC63CD6}" type="parTrans" cxnId="{7EFE9324-5B8F-4A6F-BF04-08BD24C72182}">
      <dgm:prSet/>
      <dgm:spPr/>
      <dgm:t>
        <a:bodyPr/>
        <a:lstStyle/>
        <a:p>
          <a:endParaRPr lang="es-CO"/>
        </a:p>
      </dgm:t>
    </dgm:pt>
    <dgm:pt modelId="{D029B079-DB6B-4379-B273-7C146FE0EEA6}" type="sibTrans" cxnId="{7EFE9324-5B8F-4A6F-BF04-08BD24C72182}">
      <dgm:prSet/>
      <dgm:spPr/>
      <dgm:t>
        <a:bodyPr/>
        <a:lstStyle/>
        <a:p>
          <a:endParaRPr lang="es-CO"/>
        </a:p>
      </dgm:t>
    </dgm:pt>
    <dgm:pt modelId="{9020ABD2-8684-4F92-A44E-D8BE295BEAEA}">
      <dgm:prSet phldrT="[Texto]"/>
      <dgm:spPr/>
      <dgm:t>
        <a:bodyPr/>
        <a:lstStyle/>
        <a:p>
          <a:r>
            <a:rPr lang="es-CO" smtClean="0"/>
            <a:t>Competencias vocacionales para la vida y para el crecimiento económico.</a:t>
          </a:r>
          <a:endParaRPr lang="es-CO" dirty="0"/>
        </a:p>
      </dgm:t>
    </dgm:pt>
    <dgm:pt modelId="{E231F7FC-3965-40DA-9129-486763F527B7}" type="parTrans" cxnId="{C155F778-5E34-40BA-BD44-29F2AE958725}">
      <dgm:prSet/>
      <dgm:spPr/>
      <dgm:t>
        <a:bodyPr/>
        <a:lstStyle/>
        <a:p>
          <a:endParaRPr lang="es-CO"/>
        </a:p>
      </dgm:t>
    </dgm:pt>
    <dgm:pt modelId="{05C0A864-B1E8-4E23-AD3F-4E9FA62A70F8}" type="sibTrans" cxnId="{C155F778-5E34-40BA-BD44-29F2AE958725}">
      <dgm:prSet/>
      <dgm:spPr/>
      <dgm:t>
        <a:bodyPr/>
        <a:lstStyle/>
        <a:p>
          <a:endParaRPr lang="es-CO"/>
        </a:p>
      </dgm:t>
    </dgm:pt>
    <dgm:pt modelId="{5046C097-F008-4900-AF43-B9FC689E4D3A}">
      <dgm:prSet phldrT="[Texto]"/>
      <dgm:spPr/>
      <dgm:t>
        <a:bodyPr/>
        <a:lstStyle/>
        <a:p>
          <a:r>
            <a:rPr lang="es-CO" smtClean="0"/>
            <a:t>Educación a lo largo de la vida.</a:t>
          </a:r>
          <a:endParaRPr lang="es-CO" dirty="0"/>
        </a:p>
      </dgm:t>
    </dgm:pt>
    <dgm:pt modelId="{A1559C33-1F41-4235-BD4A-17B4A6630E40}" type="parTrans" cxnId="{1FC4EEAB-CE54-40B6-B5A7-195562FD4C33}">
      <dgm:prSet/>
      <dgm:spPr/>
      <dgm:t>
        <a:bodyPr/>
        <a:lstStyle/>
        <a:p>
          <a:endParaRPr lang="es-CO"/>
        </a:p>
      </dgm:t>
    </dgm:pt>
    <dgm:pt modelId="{550B6952-6583-4CD1-8280-353350B4CE74}" type="sibTrans" cxnId="{1FC4EEAB-CE54-40B6-B5A7-195562FD4C33}">
      <dgm:prSet/>
      <dgm:spPr/>
      <dgm:t>
        <a:bodyPr/>
        <a:lstStyle/>
        <a:p>
          <a:endParaRPr lang="es-CO"/>
        </a:p>
      </dgm:t>
    </dgm:pt>
    <dgm:pt modelId="{1F9DD779-B3BD-4AA0-AB13-C38650497F17}">
      <dgm:prSet phldrT="[Texto]"/>
      <dgm:spPr/>
      <dgm:t>
        <a:bodyPr/>
        <a:lstStyle/>
        <a:p>
          <a:pPr algn="ctr"/>
          <a:r>
            <a:rPr lang="es-CO" dirty="0" smtClean="0"/>
            <a:t>Población objetivo</a:t>
          </a:r>
          <a:endParaRPr lang="es-CO" dirty="0"/>
        </a:p>
      </dgm:t>
    </dgm:pt>
    <dgm:pt modelId="{DFA3DED5-4C55-44FA-81F7-4696CEA92428}" type="parTrans" cxnId="{0B8A280E-DA91-46CC-B22E-2E2E65536E72}">
      <dgm:prSet/>
      <dgm:spPr/>
      <dgm:t>
        <a:bodyPr/>
        <a:lstStyle/>
        <a:p>
          <a:endParaRPr lang="es-CO"/>
        </a:p>
      </dgm:t>
    </dgm:pt>
    <dgm:pt modelId="{7A8DC637-E2FC-4171-AF82-97293C88AB29}" type="sibTrans" cxnId="{0B8A280E-DA91-46CC-B22E-2E2E65536E72}">
      <dgm:prSet/>
      <dgm:spPr/>
      <dgm:t>
        <a:bodyPr/>
        <a:lstStyle/>
        <a:p>
          <a:endParaRPr lang="es-CO"/>
        </a:p>
      </dgm:t>
    </dgm:pt>
    <dgm:pt modelId="{42E7FC2D-2B7E-43CA-A15D-5F66FCAB0376}">
      <dgm:prSet phldrT="[Texto]"/>
      <dgm:spPr/>
      <dgm:t>
        <a:bodyPr/>
        <a:lstStyle/>
        <a:p>
          <a:r>
            <a:rPr lang="es-CO" smtClean="0"/>
            <a:t>Adolescentes y adultos.</a:t>
          </a:r>
          <a:endParaRPr lang="es-CO" dirty="0"/>
        </a:p>
      </dgm:t>
    </dgm:pt>
    <dgm:pt modelId="{6FF8BA45-6649-4B68-8C29-48F3C40B2F52}" type="parTrans" cxnId="{371C32F8-16A1-4B62-8EFC-F00A7EC5208E}">
      <dgm:prSet/>
      <dgm:spPr/>
      <dgm:t>
        <a:bodyPr/>
        <a:lstStyle/>
        <a:p>
          <a:endParaRPr lang="es-CO"/>
        </a:p>
      </dgm:t>
    </dgm:pt>
    <dgm:pt modelId="{48EC2E3B-324A-48F1-A2EA-DEBB63BB0A6C}" type="sibTrans" cxnId="{371C32F8-16A1-4B62-8EFC-F00A7EC5208E}">
      <dgm:prSet/>
      <dgm:spPr/>
      <dgm:t>
        <a:bodyPr/>
        <a:lstStyle/>
        <a:p>
          <a:endParaRPr lang="es-CO"/>
        </a:p>
      </dgm:t>
    </dgm:pt>
    <dgm:pt modelId="{0ADB959F-9F28-45C2-A672-7ED00D86DF70}">
      <dgm:prSet phldrT="[Texto]"/>
      <dgm:spPr/>
      <dgm:t>
        <a:bodyPr/>
        <a:lstStyle/>
        <a:p>
          <a:pPr algn="ctr"/>
          <a:r>
            <a:rPr lang="es-CO" dirty="0" smtClean="0"/>
            <a:t>Entidad encargada</a:t>
          </a:r>
          <a:endParaRPr lang="es-CO" dirty="0"/>
        </a:p>
      </dgm:t>
    </dgm:pt>
    <dgm:pt modelId="{69B77398-2D68-4F89-AAFA-19A23C157FB3}" type="parTrans" cxnId="{9C1D5E67-4076-4E69-88C3-BBF88CD13624}">
      <dgm:prSet/>
      <dgm:spPr/>
      <dgm:t>
        <a:bodyPr/>
        <a:lstStyle/>
        <a:p>
          <a:endParaRPr lang="es-CO"/>
        </a:p>
      </dgm:t>
    </dgm:pt>
    <dgm:pt modelId="{EF4B8186-E0E6-458C-9D3B-267C11033752}" type="sibTrans" cxnId="{9C1D5E67-4076-4E69-88C3-BBF88CD13624}">
      <dgm:prSet/>
      <dgm:spPr/>
      <dgm:t>
        <a:bodyPr/>
        <a:lstStyle/>
        <a:p>
          <a:endParaRPr lang="es-CO"/>
        </a:p>
      </dgm:t>
    </dgm:pt>
    <dgm:pt modelId="{E18FA679-C340-414F-97A8-2AD9DDC996F2}">
      <dgm:prSet phldrT="[Texto]"/>
      <dgm:spPr/>
      <dgm:t>
        <a:bodyPr/>
        <a:lstStyle/>
        <a:p>
          <a:r>
            <a:rPr lang="es-CO" dirty="0" smtClean="0"/>
            <a:t>Ministerio de Educación Nacional u organismos especializados en competencias.</a:t>
          </a:r>
          <a:endParaRPr lang="es-CO" dirty="0"/>
        </a:p>
      </dgm:t>
    </dgm:pt>
    <dgm:pt modelId="{9230D270-C12A-4C34-8D22-110CF305C97D}" type="parTrans" cxnId="{4CF03190-3D7D-4669-9126-24291670C2D3}">
      <dgm:prSet/>
      <dgm:spPr/>
      <dgm:t>
        <a:bodyPr/>
        <a:lstStyle/>
        <a:p>
          <a:endParaRPr lang="es-CO"/>
        </a:p>
      </dgm:t>
    </dgm:pt>
    <dgm:pt modelId="{819F8B20-0869-4239-8A25-7C7CA54A99C6}" type="sibTrans" cxnId="{4CF03190-3D7D-4669-9126-24291670C2D3}">
      <dgm:prSet/>
      <dgm:spPr/>
      <dgm:t>
        <a:bodyPr/>
        <a:lstStyle/>
        <a:p>
          <a:endParaRPr lang="es-CO"/>
        </a:p>
      </dgm:t>
    </dgm:pt>
    <dgm:pt modelId="{1FF0C413-DD02-411B-A828-8F012F82E807}" type="pres">
      <dgm:prSet presAssocID="{426C4A32-26E5-4629-9D88-1162318419E4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A1F70722-2FEC-43E3-9A23-B1F4E642EE64}" type="pres">
      <dgm:prSet presAssocID="{064469A7-2962-4514-AE1B-48CAD74B89F5}" presName="linNode" presStyleCnt="0"/>
      <dgm:spPr/>
      <dgm:t>
        <a:bodyPr/>
        <a:lstStyle/>
        <a:p>
          <a:endParaRPr lang="es-CO"/>
        </a:p>
      </dgm:t>
    </dgm:pt>
    <dgm:pt modelId="{AC37217A-60E8-4486-91D3-00ABFF0C9208}" type="pres">
      <dgm:prSet presAssocID="{064469A7-2962-4514-AE1B-48CAD74B89F5}" presName="parTx" presStyleLbl="revTx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2A249A0F-2B19-4081-B596-AFEEFB00AEC6}" type="pres">
      <dgm:prSet presAssocID="{064469A7-2962-4514-AE1B-48CAD74B89F5}" presName="bracket" presStyleLbl="parChTrans1D1" presStyleIdx="0" presStyleCnt="4"/>
      <dgm:spPr/>
      <dgm:t>
        <a:bodyPr/>
        <a:lstStyle/>
        <a:p>
          <a:endParaRPr lang="es-CO"/>
        </a:p>
      </dgm:t>
    </dgm:pt>
    <dgm:pt modelId="{43A07CAD-EEC5-498B-87A9-364C1ED77674}" type="pres">
      <dgm:prSet presAssocID="{064469A7-2962-4514-AE1B-48CAD74B89F5}" presName="spH" presStyleCnt="0"/>
      <dgm:spPr/>
      <dgm:t>
        <a:bodyPr/>
        <a:lstStyle/>
        <a:p>
          <a:endParaRPr lang="es-CO"/>
        </a:p>
      </dgm:t>
    </dgm:pt>
    <dgm:pt modelId="{63C88672-20D1-4CF1-8191-18C470C93209}" type="pres">
      <dgm:prSet presAssocID="{064469A7-2962-4514-AE1B-48CAD74B89F5}" presName="desTx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EA7DAB9F-CA13-4E53-A2E8-97396852C397}" type="pres">
      <dgm:prSet presAssocID="{7241934F-60BE-4D04-8C7C-C96DD0962BBB}" presName="spV" presStyleCnt="0"/>
      <dgm:spPr/>
      <dgm:t>
        <a:bodyPr/>
        <a:lstStyle/>
        <a:p>
          <a:endParaRPr lang="es-CO"/>
        </a:p>
      </dgm:t>
    </dgm:pt>
    <dgm:pt modelId="{78A4640A-F2E8-4336-ADA0-249E00029259}" type="pres">
      <dgm:prSet presAssocID="{51987483-877F-4768-8A56-8A26B0A33A8B}" presName="linNode" presStyleCnt="0"/>
      <dgm:spPr/>
      <dgm:t>
        <a:bodyPr/>
        <a:lstStyle/>
        <a:p>
          <a:endParaRPr lang="es-CO"/>
        </a:p>
      </dgm:t>
    </dgm:pt>
    <dgm:pt modelId="{48BF8545-62FB-48D0-BF6C-B1E5382DA192}" type="pres">
      <dgm:prSet presAssocID="{51987483-877F-4768-8A56-8A26B0A33A8B}" presName="parTx" presStyleLbl="revTx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F6011C12-C47D-48F7-AA89-AACEE724CC0F}" type="pres">
      <dgm:prSet presAssocID="{51987483-877F-4768-8A56-8A26B0A33A8B}" presName="bracket" presStyleLbl="parChTrans1D1" presStyleIdx="1" presStyleCnt="4"/>
      <dgm:spPr/>
      <dgm:t>
        <a:bodyPr/>
        <a:lstStyle/>
        <a:p>
          <a:endParaRPr lang="es-CO"/>
        </a:p>
      </dgm:t>
    </dgm:pt>
    <dgm:pt modelId="{47238512-0D02-4A31-94B1-6D5B163C7BF5}" type="pres">
      <dgm:prSet presAssocID="{51987483-877F-4768-8A56-8A26B0A33A8B}" presName="spH" presStyleCnt="0"/>
      <dgm:spPr/>
      <dgm:t>
        <a:bodyPr/>
        <a:lstStyle/>
        <a:p>
          <a:endParaRPr lang="es-CO"/>
        </a:p>
      </dgm:t>
    </dgm:pt>
    <dgm:pt modelId="{FFA7EAD1-296E-40CD-93AE-D6CD3F8417E2}" type="pres">
      <dgm:prSet presAssocID="{51987483-877F-4768-8A56-8A26B0A33A8B}" presName="desTx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E62F12E4-C6E3-4480-998F-B17D9120587B}" type="pres">
      <dgm:prSet presAssocID="{D029B079-DB6B-4379-B273-7C146FE0EEA6}" presName="spV" presStyleCnt="0"/>
      <dgm:spPr/>
      <dgm:t>
        <a:bodyPr/>
        <a:lstStyle/>
        <a:p>
          <a:endParaRPr lang="es-CO"/>
        </a:p>
      </dgm:t>
    </dgm:pt>
    <dgm:pt modelId="{E640907A-ED0D-4B8F-A8E5-C5DA86E877F5}" type="pres">
      <dgm:prSet presAssocID="{1F9DD779-B3BD-4AA0-AB13-C38650497F17}" presName="linNode" presStyleCnt="0"/>
      <dgm:spPr/>
      <dgm:t>
        <a:bodyPr/>
        <a:lstStyle/>
        <a:p>
          <a:endParaRPr lang="es-CO"/>
        </a:p>
      </dgm:t>
    </dgm:pt>
    <dgm:pt modelId="{3A7A7695-5B13-450E-98E6-6395BDCAAF31}" type="pres">
      <dgm:prSet presAssocID="{1F9DD779-B3BD-4AA0-AB13-C38650497F17}" presName="parTx" presStyleLbl="revTx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2F54AE2C-DE06-438F-A8AA-DDE061E301AA}" type="pres">
      <dgm:prSet presAssocID="{1F9DD779-B3BD-4AA0-AB13-C38650497F17}" presName="bracket" presStyleLbl="parChTrans1D1" presStyleIdx="2" presStyleCnt="4"/>
      <dgm:spPr/>
      <dgm:t>
        <a:bodyPr/>
        <a:lstStyle/>
        <a:p>
          <a:endParaRPr lang="es-CO"/>
        </a:p>
      </dgm:t>
    </dgm:pt>
    <dgm:pt modelId="{DF5E01D6-1158-4B96-B707-1E4299CF3401}" type="pres">
      <dgm:prSet presAssocID="{1F9DD779-B3BD-4AA0-AB13-C38650497F17}" presName="spH" presStyleCnt="0"/>
      <dgm:spPr/>
      <dgm:t>
        <a:bodyPr/>
        <a:lstStyle/>
        <a:p>
          <a:endParaRPr lang="es-CO"/>
        </a:p>
      </dgm:t>
    </dgm:pt>
    <dgm:pt modelId="{15E5D75E-3B36-4A58-8BE9-931EF235A6E1}" type="pres">
      <dgm:prSet presAssocID="{1F9DD779-B3BD-4AA0-AB13-C38650497F17}" presName="desTx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45794429-5C7D-4A87-90C2-776BC3E4D3FC}" type="pres">
      <dgm:prSet presAssocID="{7A8DC637-E2FC-4171-AF82-97293C88AB29}" presName="spV" presStyleCnt="0"/>
      <dgm:spPr/>
      <dgm:t>
        <a:bodyPr/>
        <a:lstStyle/>
        <a:p>
          <a:endParaRPr lang="es-CO"/>
        </a:p>
      </dgm:t>
    </dgm:pt>
    <dgm:pt modelId="{7AB7FEA2-7D00-4DA3-AC96-6A287E1D7443}" type="pres">
      <dgm:prSet presAssocID="{0ADB959F-9F28-45C2-A672-7ED00D86DF70}" presName="linNode" presStyleCnt="0"/>
      <dgm:spPr/>
      <dgm:t>
        <a:bodyPr/>
        <a:lstStyle/>
        <a:p>
          <a:endParaRPr lang="es-CO"/>
        </a:p>
      </dgm:t>
    </dgm:pt>
    <dgm:pt modelId="{3265399B-BC14-49E3-9B65-605C20A0A563}" type="pres">
      <dgm:prSet presAssocID="{0ADB959F-9F28-45C2-A672-7ED00D86DF70}" presName="parTx" presStyleLbl="revTx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22B9FB7D-296D-44AE-9DD2-23A0D7AF4879}" type="pres">
      <dgm:prSet presAssocID="{0ADB959F-9F28-45C2-A672-7ED00D86DF70}" presName="bracket" presStyleLbl="parChTrans1D1" presStyleIdx="3" presStyleCnt="4"/>
      <dgm:spPr/>
      <dgm:t>
        <a:bodyPr/>
        <a:lstStyle/>
        <a:p>
          <a:endParaRPr lang="es-CO"/>
        </a:p>
      </dgm:t>
    </dgm:pt>
    <dgm:pt modelId="{30F11A40-B457-44DA-A6D4-797AB82B39DF}" type="pres">
      <dgm:prSet presAssocID="{0ADB959F-9F28-45C2-A672-7ED00D86DF70}" presName="spH" presStyleCnt="0"/>
      <dgm:spPr/>
      <dgm:t>
        <a:bodyPr/>
        <a:lstStyle/>
        <a:p>
          <a:endParaRPr lang="es-CO"/>
        </a:p>
      </dgm:t>
    </dgm:pt>
    <dgm:pt modelId="{8F9952F8-B1A9-4540-925B-0EC7C52AAA8E}" type="pres">
      <dgm:prSet presAssocID="{0ADB959F-9F28-45C2-A672-7ED00D86DF70}" presName="desTx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D61A2368-9279-40FA-AD94-AC0C26A07A32}" type="presOf" srcId="{35DA1D30-9EC9-4EBE-9C91-9A643D32F9F5}" destId="{63C88672-20D1-4CF1-8191-18C470C93209}" srcOrd="0" destOrd="0" presId="urn:diagrams.loki3.com/BracketList+Icon"/>
    <dgm:cxn modelId="{371C32F8-16A1-4B62-8EFC-F00A7EC5208E}" srcId="{1F9DD779-B3BD-4AA0-AB13-C38650497F17}" destId="{42E7FC2D-2B7E-43CA-A15D-5F66FCAB0376}" srcOrd="0" destOrd="0" parTransId="{6FF8BA45-6649-4B68-8C29-48F3C40B2F52}" sibTransId="{48EC2E3B-324A-48F1-A2EA-DEBB63BB0A6C}"/>
    <dgm:cxn modelId="{9C1D5E67-4076-4E69-88C3-BBF88CD13624}" srcId="{426C4A32-26E5-4629-9D88-1162318419E4}" destId="{0ADB959F-9F28-45C2-A672-7ED00D86DF70}" srcOrd="3" destOrd="0" parTransId="{69B77398-2D68-4F89-AAFA-19A23C157FB3}" sibTransId="{EF4B8186-E0E6-458C-9D3B-267C11033752}"/>
    <dgm:cxn modelId="{AF53BF73-725E-4050-B2E8-06E2EDF3FEA4}" type="presOf" srcId="{0ADB959F-9F28-45C2-A672-7ED00D86DF70}" destId="{3265399B-BC14-49E3-9B65-605C20A0A563}" srcOrd="0" destOrd="0" presId="urn:diagrams.loki3.com/BracketList+Icon"/>
    <dgm:cxn modelId="{9D3098C2-E993-440B-B7E0-C0DB772909EE}" type="presOf" srcId="{E18FA679-C340-414F-97A8-2AD9DDC996F2}" destId="{8F9952F8-B1A9-4540-925B-0EC7C52AAA8E}" srcOrd="0" destOrd="0" presId="urn:diagrams.loki3.com/BracketList+Icon"/>
    <dgm:cxn modelId="{90CD303B-CD3B-4E2E-B213-717226AFC12E}" type="presOf" srcId="{51987483-877F-4768-8A56-8A26B0A33A8B}" destId="{48BF8545-62FB-48D0-BF6C-B1E5382DA192}" srcOrd="0" destOrd="0" presId="urn:diagrams.loki3.com/BracketList+Icon"/>
    <dgm:cxn modelId="{1FC4EEAB-CE54-40B6-B5A7-195562FD4C33}" srcId="{064469A7-2962-4514-AE1B-48CAD74B89F5}" destId="{5046C097-F008-4900-AF43-B9FC689E4D3A}" srcOrd="1" destOrd="0" parTransId="{A1559C33-1F41-4235-BD4A-17B4A6630E40}" sibTransId="{550B6952-6583-4CD1-8280-353350B4CE74}"/>
    <dgm:cxn modelId="{8D697666-11DF-4302-A855-E301E20177A1}" type="presOf" srcId="{5046C097-F008-4900-AF43-B9FC689E4D3A}" destId="{63C88672-20D1-4CF1-8191-18C470C93209}" srcOrd="0" destOrd="1" presId="urn:diagrams.loki3.com/BracketList+Icon"/>
    <dgm:cxn modelId="{7EFE9324-5B8F-4A6F-BF04-08BD24C72182}" srcId="{426C4A32-26E5-4629-9D88-1162318419E4}" destId="{51987483-877F-4768-8A56-8A26B0A33A8B}" srcOrd="1" destOrd="0" parTransId="{C0C38A25-F317-48A5-9213-A82F9BC63CD6}" sibTransId="{D029B079-DB6B-4379-B273-7C146FE0EEA6}"/>
    <dgm:cxn modelId="{4CF03190-3D7D-4669-9126-24291670C2D3}" srcId="{0ADB959F-9F28-45C2-A672-7ED00D86DF70}" destId="{E18FA679-C340-414F-97A8-2AD9DDC996F2}" srcOrd="0" destOrd="0" parTransId="{9230D270-C12A-4C34-8D22-110CF305C97D}" sibTransId="{819F8B20-0869-4239-8A25-7C7CA54A99C6}"/>
    <dgm:cxn modelId="{2F6D14B9-6006-40DC-B2AA-50279916A059}" type="presOf" srcId="{064469A7-2962-4514-AE1B-48CAD74B89F5}" destId="{AC37217A-60E8-4486-91D3-00ABFF0C9208}" srcOrd="0" destOrd="0" presId="urn:diagrams.loki3.com/BracketList+Icon"/>
    <dgm:cxn modelId="{4F699939-C15F-4A40-A4FF-DF60DECE295D}" type="presOf" srcId="{426C4A32-26E5-4629-9D88-1162318419E4}" destId="{1FF0C413-DD02-411B-A828-8F012F82E807}" srcOrd="0" destOrd="0" presId="urn:diagrams.loki3.com/BracketList+Icon"/>
    <dgm:cxn modelId="{F6CE830C-3583-45BF-AAED-3BA4A86CBFCF}" type="presOf" srcId="{9020ABD2-8684-4F92-A44E-D8BE295BEAEA}" destId="{FFA7EAD1-296E-40CD-93AE-D6CD3F8417E2}" srcOrd="0" destOrd="0" presId="urn:diagrams.loki3.com/BracketList+Icon"/>
    <dgm:cxn modelId="{60F1897B-0D0B-41E2-8833-70397AB0F6CC}" type="presOf" srcId="{42E7FC2D-2B7E-43CA-A15D-5F66FCAB0376}" destId="{15E5D75E-3B36-4A58-8BE9-931EF235A6E1}" srcOrd="0" destOrd="0" presId="urn:diagrams.loki3.com/BracketList+Icon"/>
    <dgm:cxn modelId="{B6CE68F1-354D-48AA-A353-4D7206C14F10}" srcId="{426C4A32-26E5-4629-9D88-1162318419E4}" destId="{064469A7-2962-4514-AE1B-48CAD74B89F5}" srcOrd="0" destOrd="0" parTransId="{0F211821-030A-4EBD-B54E-3554C274DEE9}" sibTransId="{7241934F-60BE-4D04-8C7C-C96DD0962BBB}"/>
    <dgm:cxn modelId="{C155F778-5E34-40BA-BD44-29F2AE958725}" srcId="{51987483-877F-4768-8A56-8A26B0A33A8B}" destId="{9020ABD2-8684-4F92-A44E-D8BE295BEAEA}" srcOrd="0" destOrd="0" parTransId="{E231F7FC-3965-40DA-9129-486763F527B7}" sibTransId="{05C0A864-B1E8-4E23-AD3F-4E9FA62A70F8}"/>
    <dgm:cxn modelId="{379FA818-B5AE-4FB7-BEAB-8D5D84F6B6B4}" srcId="{064469A7-2962-4514-AE1B-48CAD74B89F5}" destId="{35DA1D30-9EC9-4EBE-9C91-9A643D32F9F5}" srcOrd="0" destOrd="0" parTransId="{549E60F3-BDB3-4FC6-A633-90881DA1F755}" sibTransId="{B99AD4D2-DC8D-441A-8483-3605EF280F8B}"/>
    <dgm:cxn modelId="{FE978FBB-926E-4198-87A6-E2FA8E97A26A}" type="presOf" srcId="{1F9DD779-B3BD-4AA0-AB13-C38650497F17}" destId="{3A7A7695-5B13-450E-98E6-6395BDCAAF31}" srcOrd="0" destOrd="0" presId="urn:diagrams.loki3.com/BracketList+Icon"/>
    <dgm:cxn modelId="{0B8A280E-DA91-46CC-B22E-2E2E65536E72}" srcId="{426C4A32-26E5-4629-9D88-1162318419E4}" destId="{1F9DD779-B3BD-4AA0-AB13-C38650497F17}" srcOrd="2" destOrd="0" parTransId="{DFA3DED5-4C55-44FA-81F7-4696CEA92428}" sibTransId="{7A8DC637-E2FC-4171-AF82-97293C88AB29}"/>
    <dgm:cxn modelId="{CA624621-AA54-404F-A489-7D3B4EA6D267}" type="presParOf" srcId="{1FF0C413-DD02-411B-A828-8F012F82E807}" destId="{A1F70722-2FEC-43E3-9A23-B1F4E642EE64}" srcOrd="0" destOrd="0" presId="urn:diagrams.loki3.com/BracketList+Icon"/>
    <dgm:cxn modelId="{1530BBD5-DE87-4384-96B9-8241EFADFE42}" type="presParOf" srcId="{A1F70722-2FEC-43E3-9A23-B1F4E642EE64}" destId="{AC37217A-60E8-4486-91D3-00ABFF0C9208}" srcOrd="0" destOrd="0" presId="urn:diagrams.loki3.com/BracketList+Icon"/>
    <dgm:cxn modelId="{C7E8CC6C-AD8F-430B-AE38-9E28F570E451}" type="presParOf" srcId="{A1F70722-2FEC-43E3-9A23-B1F4E642EE64}" destId="{2A249A0F-2B19-4081-B596-AFEEFB00AEC6}" srcOrd="1" destOrd="0" presId="urn:diagrams.loki3.com/BracketList+Icon"/>
    <dgm:cxn modelId="{A91F0B95-14EE-4868-A0F5-E12686A9C0D3}" type="presParOf" srcId="{A1F70722-2FEC-43E3-9A23-B1F4E642EE64}" destId="{43A07CAD-EEC5-498B-87A9-364C1ED77674}" srcOrd="2" destOrd="0" presId="urn:diagrams.loki3.com/BracketList+Icon"/>
    <dgm:cxn modelId="{DC084D24-991F-4ACE-94B4-2C706707F644}" type="presParOf" srcId="{A1F70722-2FEC-43E3-9A23-B1F4E642EE64}" destId="{63C88672-20D1-4CF1-8191-18C470C93209}" srcOrd="3" destOrd="0" presId="urn:diagrams.loki3.com/BracketList+Icon"/>
    <dgm:cxn modelId="{355D273C-32AC-482B-84A1-DB11694BA9E2}" type="presParOf" srcId="{1FF0C413-DD02-411B-A828-8F012F82E807}" destId="{EA7DAB9F-CA13-4E53-A2E8-97396852C397}" srcOrd="1" destOrd="0" presId="urn:diagrams.loki3.com/BracketList+Icon"/>
    <dgm:cxn modelId="{803F1ED8-B60A-45CE-B25F-8929B8BA88E6}" type="presParOf" srcId="{1FF0C413-DD02-411B-A828-8F012F82E807}" destId="{78A4640A-F2E8-4336-ADA0-249E00029259}" srcOrd="2" destOrd="0" presId="urn:diagrams.loki3.com/BracketList+Icon"/>
    <dgm:cxn modelId="{AFAF38DF-C8C6-425E-BCE7-491E4146F2B2}" type="presParOf" srcId="{78A4640A-F2E8-4336-ADA0-249E00029259}" destId="{48BF8545-62FB-48D0-BF6C-B1E5382DA192}" srcOrd="0" destOrd="0" presId="urn:diagrams.loki3.com/BracketList+Icon"/>
    <dgm:cxn modelId="{9C4284AE-627D-49FC-B715-C5E83AFB863B}" type="presParOf" srcId="{78A4640A-F2E8-4336-ADA0-249E00029259}" destId="{F6011C12-C47D-48F7-AA89-AACEE724CC0F}" srcOrd="1" destOrd="0" presId="urn:diagrams.loki3.com/BracketList+Icon"/>
    <dgm:cxn modelId="{63804B85-2DA9-411D-A270-970BC0E79AEF}" type="presParOf" srcId="{78A4640A-F2E8-4336-ADA0-249E00029259}" destId="{47238512-0D02-4A31-94B1-6D5B163C7BF5}" srcOrd="2" destOrd="0" presId="urn:diagrams.loki3.com/BracketList+Icon"/>
    <dgm:cxn modelId="{2749BB34-13E1-4734-AB2D-2BA7FBA57E08}" type="presParOf" srcId="{78A4640A-F2E8-4336-ADA0-249E00029259}" destId="{FFA7EAD1-296E-40CD-93AE-D6CD3F8417E2}" srcOrd="3" destOrd="0" presId="urn:diagrams.loki3.com/BracketList+Icon"/>
    <dgm:cxn modelId="{48282103-84C6-4671-9B1C-608179A1579B}" type="presParOf" srcId="{1FF0C413-DD02-411B-A828-8F012F82E807}" destId="{E62F12E4-C6E3-4480-998F-B17D9120587B}" srcOrd="3" destOrd="0" presId="urn:diagrams.loki3.com/BracketList+Icon"/>
    <dgm:cxn modelId="{D6923791-BDD8-43F5-80BE-79E1CA89AE22}" type="presParOf" srcId="{1FF0C413-DD02-411B-A828-8F012F82E807}" destId="{E640907A-ED0D-4B8F-A8E5-C5DA86E877F5}" srcOrd="4" destOrd="0" presId="urn:diagrams.loki3.com/BracketList+Icon"/>
    <dgm:cxn modelId="{D5A23D90-07A2-48AA-9C62-B7C68D7B4367}" type="presParOf" srcId="{E640907A-ED0D-4B8F-A8E5-C5DA86E877F5}" destId="{3A7A7695-5B13-450E-98E6-6395BDCAAF31}" srcOrd="0" destOrd="0" presId="urn:diagrams.loki3.com/BracketList+Icon"/>
    <dgm:cxn modelId="{70637AC1-A2AF-454F-8DE2-1B3F551945E3}" type="presParOf" srcId="{E640907A-ED0D-4B8F-A8E5-C5DA86E877F5}" destId="{2F54AE2C-DE06-438F-A8AA-DDE061E301AA}" srcOrd="1" destOrd="0" presId="urn:diagrams.loki3.com/BracketList+Icon"/>
    <dgm:cxn modelId="{543A36F9-EBFB-48B5-BF24-25B0BF6B1EAB}" type="presParOf" srcId="{E640907A-ED0D-4B8F-A8E5-C5DA86E877F5}" destId="{DF5E01D6-1158-4B96-B707-1E4299CF3401}" srcOrd="2" destOrd="0" presId="urn:diagrams.loki3.com/BracketList+Icon"/>
    <dgm:cxn modelId="{6B72256C-616B-4939-BEDD-6A036E964F3B}" type="presParOf" srcId="{E640907A-ED0D-4B8F-A8E5-C5DA86E877F5}" destId="{15E5D75E-3B36-4A58-8BE9-931EF235A6E1}" srcOrd="3" destOrd="0" presId="urn:diagrams.loki3.com/BracketList+Icon"/>
    <dgm:cxn modelId="{F41105FA-F2B2-42C5-BE8C-D00A43E8F091}" type="presParOf" srcId="{1FF0C413-DD02-411B-A828-8F012F82E807}" destId="{45794429-5C7D-4A87-90C2-776BC3E4D3FC}" srcOrd="5" destOrd="0" presId="urn:diagrams.loki3.com/BracketList+Icon"/>
    <dgm:cxn modelId="{758EAA29-4B85-48D2-A51D-C4187C192055}" type="presParOf" srcId="{1FF0C413-DD02-411B-A828-8F012F82E807}" destId="{7AB7FEA2-7D00-4DA3-AC96-6A287E1D7443}" srcOrd="6" destOrd="0" presId="urn:diagrams.loki3.com/BracketList+Icon"/>
    <dgm:cxn modelId="{D92F4DD2-DBA0-4BD3-817C-7DE49D858997}" type="presParOf" srcId="{7AB7FEA2-7D00-4DA3-AC96-6A287E1D7443}" destId="{3265399B-BC14-49E3-9B65-605C20A0A563}" srcOrd="0" destOrd="0" presId="urn:diagrams.loki3.com/BracketList+Icon"/>
    <dgm:cxn modelId="{B7D7EA52-392E-4871-8BD3-2C7F8CCBA093}" type="presParOf" srcId="{7AB7FEA2-7D00-4DA3-AC96-6A287E1D7443}" destId="{22B9FB7D-296D-44AE-9DD2-23A0D7AF4879}" srcOrd="1" destOrd="0" presId="urn:diagrams.loki3.com/BracketList+Icon"/>
    <dgm:cxn modelId="{75AA4A9B-059C-43FC-B19E-D33474886387}" type="presParOf" srcId="{7AB7FEA2-7D00-4DA3-AC96-6A287E1D7443}" destId="{30F11A40-B457-44DA-A6D4-797AB82B39DF}" srcOrd="2" destOrd="0" presId="urn:diagrams.loki3.com/BracketList+Icon"/>
    <dgm:cxn modelId="{DB434E13-0F55-44B7-9C20-1D35C195BB7C}" type="presParOf" srcId="{7AB7FEA2-7D00-4DA3-AC96-6A287E1D7443}" destId="{8F9952F8-B1A9-4540-925B-0EC7C52AAA8E}" srcOrd="3" destOrd="0" presId="urn:diagrams.loki3.com/BracketList+Icon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70E7E4ED-4075-4C79-892B-59713DE3656D}" type="doc">
      <dgm:prSet loTypeId="urn:microsoft.com/office/officeart/2005/8/layout/list1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s-CO"/>
        </a:p>
      </dgm:t>
    </dgm:pt>
    <dgm:pt modelId="{55554ABE-44B4-4DC6-BC6D-E31A8BACD25E}">
      <dgm:prSet phldrT="[Texto]" custT="1"/>
      <dgm:spPr/>
      <dgm:t>
        <a:bodyPr/>
        <a:lstStyle/>
        <a:p>
          <a:r>
            <a:rPr lang="es-CO" sz="1800" b="1" dirty="0" smtClean="0">
              <a:solidFill>
                <a:srgbClr val="C00000"/>
              </a:solidFill>
            </a:rPr>
            <a:t>INCENTIVOS</a:t>
          </a:r>
          <a:endParaRPr lang="es-CO" sz="1800" b="1" dirty="0">
            <a:solidFill>
              <a:srgbClr val="C00000"/>
            </a:solidFill>
          </a:endParaRPr>
        </a:p>
      </dgm:t>
    </dgm:pt>
    <dgm:pt modelId="{B4F2515C-AAA1-4781-B53E-1AA9D8B48237}" type="parTrans" cxnId="{84B3F892-622E-4971-97BF-DD02B736A8A4}">
      <dgm:prSet/>
      <dgm:spPr/>
      <dgm:t>
        <a:bodyPr/>
        <a:lstStyle/>
        <a:p>
          <a:endParaRPr lang="es-CO"/>
        </a:p>
      </dgm:t>
    </dgm:pt>
    <dgm:pt modelId="{06D8D9AA-2750-45CA-BEFB-A8C036D1CAB3}" type="sibTrans" cxnId="{84B3F892-622E-4971-97BF-DD02B736A8A4}">
      <dgm:prSet/>
      <dgm:spPr/>
      <dgm:t>
        <a:bodyPr/>
        <a:lstStyle/>
        <a:p>
          <a:endParaRPr lang="es-CO"/>
        </a:p>
      </dgm:t>
    </dgm:pt>
    <dgm:pt modelId="{129460C4-69D5-4817-9B5E-DC367C31ABCC}">
      <dgm:prSet phldrT="[Texto]" custT="1"/>
      <dgm:spPr/>
      <dgm:t>
        <a:bodyPr/>
        <a:lstStyle/>
        <a:p>
          <a:r>
            <a:rPr lang="es-CO" sz="1600" dirty="0" smtClean="0"/>
            <a:t>Incentivar la Certificación de Calidad.</a:t>
          </a:r>
          <a:endParaRPr lang="es-CO" sz="1600" dirty="0"/>
        </a:p>
      </dgm:t>
    </dgm:pt>
    <dgm:pt modelId="{BD404738-3E46-46DF-A54D-8A0A5A292A30}" type="parTrans" cxnId="{1F2F74CF-0B73-4A7D-B994-5A8A27CB5EA1}">
      <dgm:prSet/>
      <dgm:spPr/>
      <dgm:t>
        <a:bodyPr/>
        <a:lstStyle/>
        <a:p>
          <a:endParaRPr lang="es-CO"/>
        </a:p>
      </dgm:t>
    </dgm:pt>
    <dgm:pt modelId="{97E943D5-4C18-4D4B-8DA5-4359F675AF6A}" type="sibTrans" cxnId="{1F2F74CF-0B73-4A7D-B994-5A8A27CB5EA1}">
      <dgm:prSet/>
      <dgm:spPr/>
      <dgm:t>
        <a:bodyPr/>
        <a:lstStyle/>
        <a:p>
          <a:endParaRPr lang="es-CO"/>
        </a:p>
      </dgm:t>
    </dgm:pt>
    <dgm:pt modelId="{12EB48E0-C150-476F-ADD2-2FF4CF160EA4}">
      <dgm:prSet phldrT="[Texto]" custT="1"/>
      <dgm:spPr/>
      <dgm:t>
        <a:bodyPr/>
        <a:lstStyle/>
        <a:p>
          <a:r>
            <a:rPr lang="es-CO" sz="1800" b="1" dirty="0" smtClean="0">
              <a:solidFill>
                <a:srgbClr val="C00000"/>
              </a:solidFill>
            </a:rPr>
            <a:t>OTROS </a:t>
          </a:r>
          <a:endParaRPr lang="es-CO" sz="1800" b="1" dirty="0">
            <a:solidFill>
              <a:srgbClr val="C00000"/>
            </a:solidFill>
          </a:endParaRPr>
        </a:p>
      </dgm:t>
    </dgm:pt>
    <dgm:pt modelId="{E1478186-3752-42C7-B67A-AE9571627ED7}" type="parTrans" cxnId="{2342E131-3524-4411-979C-1AA3421D0F3A}">
      <dgm:prSet/>
      <dgm:spPr/>
      <dgm:t>
        <a:bodyPr/>
        <a:lstStyle/>
        <a:p>
          <a:endParaRPr lang="es-CO"/>
        </a:p>
      </dgm:t>
    </dgm:pt>
    <dgm:pt modelId="{B8AA3DAE-7696-4937-9B6D-D9297B0ECE4C}" type="sibTrans" cxnId="{2342E131-3524-4411-979C-1AA3421D0F3A}">
      <dgm:prSet/>
      <dgm:spPr/>
      <dgm:t>
        <a:bodyPr/>
        <a:lstStyle/>
        <a:p>
          <a:endParaRPr lang="es-CO"/>
        </a:p>
      </dgm:t>
    </dgm:pt>
    <dgm:pt modelId="{E6F494A8-8B96-40B4-AF10-D1683F210D0A}">
      <dgm:prSet phldrT="[Texto]" custT="1"/>
      <dgm:spPr/>
      <dgm:t>
        <a:bodyPr/>
        <a:lstStyle/>
        <a:p>
          <a:r>
            <a:rPr lang="es-ES_tradnl" sz="1600" dirty="0" smtClean="0"/>
            <a:t>Creación de estrategias de mercado, necesidades y requerimientos.</a:t>
          </a:r>
          <a:endParaRPr lang="es-CO" sz="1600" dirty="0"/>
        </a:p>
      </dgm:t>
    </dgm:pt>
    <dgm:pt modelId="{C8B11C01-717B-4AC8-BE49-8AC895918EDB}" type="parTrans" cxnId="{D40797B6-AEBE-417C-A15B-ADFFE83B3BD9}">
      <dgm:prSet/>
      <dgm:spPr/>
      <dgm:t>
        <a:bodyPr/>
        <a:lstStyle/>
        <a:p>
          <a:endParaRPr lang="es-CO"/>
        </a:p>
      </dgm:t>
    </dgm:pt>
    <dgm:pt modelId="{D7793D13-5ED1-402E-A17C-BAA09DFCD660}" type="sibTrans" cxnId="{D40797B6-AEBE-417C-A15B-ADFFE83B3BD9}">
      <dgm:prSet/>
      <dgm:spPr/>
      <dgm:t>
        <a:bodyPr/>
        <a:lstStyle/>
        <a:p>
          <a:endParaRPr lang="es-CO"/>
        </a:p>
      </dgm:t>
    </dgm:pt>
    <dgm:pt modelId="{007A89EE-2A89-439A-BB4E-BB68A5F7BE63}">
      <dgm:prSet custT="1"/>
      <dgm:spPr/>
      <dgm:t>
        <a:bodyPr/>
        <a:lstStyle/>
        <a:p>
          <a:r>
            <a:rPr lang="es-ES_tradnl" sz="1600" dirty="0" smtClean="0"/>
            <a:t>Estímulos a los estudiantes que participan en este tipo de formación.</a:t>
          </a:r>
          <a:endParaRPr lang="es-CO" sz="1600" dirty="0"/>
        </a:p>
      </dgm:t>
    </dgm:pt>
    <dgm:pt modelId="{8993CAEE-6A29-4CC1-90B1-987D3D574DC9}" type="parTrans" cxnId="{5AF56741-0192-4D5A-819A-85C7F49B1C30}">
      <dgm:prSet/>
      <dgm:spPr/>
      <dgm:t>
        <a:bodyPr/>
        <a:lstStyle/>
        <a:p>
          <a:endParaRPr lang="es-CO"/>
        </a:p>
      </dgm:t>
    </dgm:pt>
    <dgm:pt modelId="{B7721F67-E66A-49CD-991C-0D36D61DC57F}" type="sibTrans" cxnId="{5AF56741-0192-4D5A-819A-85C7F49B1C30}">
      <dgm:prSet/>
      <dgm:spPr/>
      <dgm:t>
        <a:bodyPr/>
        <a:lstStyle/>
        <a:p>
          <a:endParaRPr lang="es-CO"/>
        </a:p>
      </dgm:t>
    </dgm:pt>
    <dgm:pt modelId="{ED5BB763-12A1-4514-A10E-4EA4987D0DB8}">
      <dgm:prSet custT="1"/>
      <dgm:spPr/>
      <dgm:t>
        <a:bodyPr/>
        <a:lstStyle/>
        <a:p>
          <a:r>
            <a:rPr lang="es-CO" sz="1600" dirty="0" smtClean="0"/>
            <a:t>Sistema Nacional de Acreditación análogo al de Educación Superior</a:t>
          </a:r>
          <a:endParaRPr lang="es-CO" sz="1600" dirty="0"/>
        </a:p>
      </dgm:t>
    </dgm:pt>
    <dgm:pt modelId="{732CEB36-CAC6-4E1E-AF9F-542CEC8EC121}" type="parTrans" cxnId="{89566D2F-9515-428C-9ABB-BAAD5524F1E4}">
      <dgm:prSet/>
      <dgm:spPr/>
      <dgm:t>
        <a:bodyPr/>
        <a:lstStyle/>
        <a:p>
          <a:endParaRPr lang="es-CO"/>
        </a:p>
      </dgm:t>
    </dgm:pt>
    <dgm:pt modelId="{2D1F2936-F1C2-4DBC-93EF-483B6A41F84B}" type="sibTrans" cxnId="{89566D2F-9515-428C-9ABB-BAAD5524F1E4}">
      <dgm:prSet/>
      <dgm:spPr/>
      <dgm:t>
        <a:bodyPr/>
        <a:lstStyle/>
        <a:p>
          <a:endParaRPr lang="es-CO"/>
        </a:p>
      </dgm:t>
    </dgm:pt>
    <dgm:pt modelId="{C9E9CE1A-AC8E-40B5-9A0F-5F7036035B04}">
      <dgm:prSet custT="1"/>
      <dgm:spPr/>
      <dgm:t>
        <a:bodyPr/>
        <a:lstStyle/>
        <a:p>
          <a:r>
            <a:rPr lang="es-CO" sz="1600" dirty="0" smtClean="0"/>
            <a:t>Fortalecer las Redes Nacionales e Internacionales</a:t>
          </a:r>
          <a:endParaRPr lang="es-CO" sz="1600" dirty="0"/>
        </a:p>
      </dgm:t>
    </dgm:pt>
    <dgm:pt modelId="{40E50578-E727-459C-B8DD-02C4119C952B}" type="parTrans" cxnId="{7597060B-3995-4013-B09E-9348130A4643}">
      <dgm:prSet/>
      <dgm:spPr/>
      <dgm:t>
        <a:bodyPr/>
        <a:lstStyle/>
        <a:p>
          <a:endParaRPr lang="es-CO"/>
        </a:p>
      </dgm:t>
    </dgm:pt>
    <dgm:pt modelId="{788D15C0-A4F9-4764-9711-2A3BAE9A6B64}" type="sibTrans" cxnId="{7597060B-3995-4013-B09E-9348130A4643}">
      <dgm:prSet/>
      <dgm:spPr/>
      <dgm:t>
        <a:bodyPr/>
        <a:lstStyle/>
        <a:p>
          <a:endParaRPr lang="es-CO"/>
        </a:p>
      </dgm:t>
    </dgm:pt>
    <dgm:pt modelId="{BD97C6C9-2419-469D-9127-CCB0B183A5B1}">
      <dgm:prSet custT="1"/>
      <dgm:spPr/>
      <dgm:t>
        <a:bodyPr/>
        <a:lstStyle/>
        <a:p>
          <a:r>
            <a:rPr lang="es-CO" sz="1600" dirty="0" smtClean="0"/>
            <a:t>Contar con respaldo de plataforma virtual</a:t>
          </a:r>
          <a:endParaRPr lang="es-CO" sz="1600" dirty="0"/>
        </a:p>
      </dgm:t>
    </dgm:pt>
    <dgm:pt modelId="{5FBFE0A8-FE2A-4E40-8D0B-8076599DA95B}" type="parTrans" cxnId="{7D0659AE-2400-4BDA-B2C8-6011866B571A}">
      <dgm:prSet/>
      <dgm:spPr/>
      <dgm:t>
        <a:bodyPr/>
        <a:lstStyle/>
        <a:p>
          <a:endParaRPr lang="es-CO"/>
        </a:p>
      </dgm:t>
    </dgm:pt>
    <dgm:pt modelId="{8CEA4DA5-9A69-48C8-85FD-E3C25071BBCF}" type="sibTrans" cxnId="{7D0659AE-2400-4BDA-B2C8-6011866B571A}">
      <dgm:prSet/>
      <dgm:spPr/>
      <dgm:t>
        <a:bodyPr/>
        <a:lstStyle/>
        <a:p>
          <a:endParaRPr lang="es-CO"/>
        </a:p>
      </dgm:t>
    </dgm:pt>
    <dgm:pt modelId="{0C0586BC-A732-4167-8B42-BC99F479D2AB}" type="pres">
      <dgm:prSet presAssocID="{70E7E4ED-4075-4C79-892B-59713DE3656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BC17576D-A87E-4BA5-A15D-DEF29E5F7785}" type="pres">
      <dgm:prSet presAssocID="{55554ABE-44B4-4DC6-BC6D-E31A8BACD25E}" presName="parentLin" presStyleCnt="0"/>
      <dgm:spPr/>
    </dgm:pt>
    <dgm:pt modelId="{0E1906B0-2B9B-4965-ABEE-F9F4C9860296}" type="pres">
      <dgm:prSet presAssocID="{55554ABE-44B4-4DC6-BC6D-E31A8BACD25E}" presName="parentLeftMargin" presStyleLbl="node1" presStyleIdx="0" presStyleCnt="2"/>
      <dgm:spPr/>
      <dgm:t>
        <a:bodyPr/>
        <a:lstStyle/>
        <a:p>
          <a:endParaRPr lang="es-CO"/>
        </a:p>
      </dgm:t>
    </dgm:pt>
    <dgm:pt modelId="{6E6C57BF-2106-4A02-9A95-C2FCD12292EA}" type="pres">
      <dgm:prSet presAssocID="{55554ABE-44B4-4DC6-BC6D-E31A8BACD25E}" presName="parentText" presStyleLbl="node1" presStyleIdx="0" presStyleCnt="2" custScaleY="69919">
        <dgm:presLayoutVars>
          <dgm:chMax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73AD8E41-3518-4B99-A64D-2F86260509E6}" type="pres">
      <dgm:prSet presAssocID="{55554ABE-44B4-4DC6-BC6D-E31A8BACD25E}" presName="negativeSpace" presStyleCnt="0"/>
      <dgm:spPr/>
    </dgm:pt>
    <dgm:pt modelId="{D05F1998-5B9B-4903-B3B0-4FFFD5085673}" type="pres">
      <dgm:prSet presAssocID="{55554ABE-44B4-4DC6-BC6D-E31A8BACD25E}" presName="childText" presStyleLbl="conFgAcc1" presStyleIdx="0" presStyleCnt="2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B4B95110-A2FF-4743-A8F4-8C0487809776}" type="pres">
      <dgm:prSet presAssocID="{06D8D9AA-2750-45CA-BEFB-A8C036D1CAB3}" presName="spaceBetweenRectangles" presStyleCnt="0"/>
      <dgm:spPr/>
    </dgm:pt>
    <dgm:pt modelId="{2996BE72-82BC-40D0-B2C3-1028AC767DD9}" type="pres">
      <dgm:prSet presAssocID="{12EB48E0-C150-476F-ADD2-2FF4CF160EA4}" presName="parentLin" presStyleCnt="0"/>
      <dgm:spPr/>
    </dgm:pt>
    <dgm:pt modelId="{76F907A5-1E09-4EAB-9C1A-4FA4C46158C9}" type="pres">
      <dgm:prSet presAssocID="{12EB48E0-C150-476F-ADD2-2FF4CF160EA4}" presName="parentLeftMargin" presStyleLbl="node1" presStyleIdx="0" presStyleCnt="2"/>
      <dgm:spPr/>
      <dgm:t>
        <a:bodyPr/>
        <a:lstStyle/>
        <a:p>
          <a:endParaRPr lang="es-CO"/>
        </a:p>
      </dgm:t>
    </dgm:pt>
    <dgm:pt modelId="{8ADE97C1-A072-4A1F-98D0-3D1F6709BE99}" type="pres">
      <dgm:prSet presAssocID="{12EB48E0-C150-476F-ADD2-2FF4CF160EA4}" presName="parentText" presStyleLbl="node1" presStyleIdx="1" presStyleCnt="2" custScaleY="70748">
        <dgm:presLayoutVars>
          <dgm:chMax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0F01006B-996E-4CC1-866A-FC01818C377B}" type="pres">
      <dgm:prSet presAssocID="{12EB48E0-C150-476F-ADD2-2FF4CF160EA4}" presName="negativeSpace" presStyleCnt="0"/>
      <dgm:spPr/>
    </dgm:pt>
    <dgm:pt modelId="{CA190715-518D-4A45-8E5D-1E4D58CFF52A}" type="pres">
      <dgm:prSet presAssocID="{12EB48E0-C150-476F-ADD2-2FF4CF160EA4}" presName="childText" presStyleLbl="conFgAcc1" presStyleIdx="1" presStyleCnt="2" custLinFactNeighborY="-10469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F97ACD0D-3962-4D9C-8B57-57CE7C99DD8C}" type="presOf" srcId="{70E7E4ED-4075-4C79-892B-59713DE3656D}" destId="{0C0586BC-A732-4167-8B42-BC99F479D2AB}" srcOrd="0" destOrd="0" presId="urn:microsoft.com/office/officeart/2005/8/layout/list1"/>
    <dgm:cxn modelId="{D40797B6-AEBE-417C-A15B-ADFFE83B3BD9}" srcId="{12EB48E0-C150-476F-ADD2-2FF4CF160EA4}" destId="{E6F494A8-8B96-40B4-AF10-D1683F210D0A}" srcOrd="0" destOrd="0" parTransId="{C8B11C01-717B-4AC8-BE49-8AC895918EDB}" sibTransId="{D7793D13-5ED1-402E-A17C-BAA09DFCD660}"/>
    <dgm:cxn modelId="{1F2F74CF-0B73-4A7D-B994-5A8A27CB5EA1}" srcId="{55554ABE-44B4-4DC6-BC6D-E31A8BACD25E}" destId="{129460C4-69D5-4817-9B5E-DC367C31ABCC}" srcOrd="0" destOrd="0" parTransId="{BD404738-3E46-46DF-A54D-8A0A5A292A30}" sibTransId="{97E943D5-4C18-4D4B-8DA5-4359F675AF6A}"/>
    <dgm:cxn modelId="{54BC25EE-E4AF-4042-943B-499795088F5E}" type="presOf" srcId="{12EB48E0-C150-476F-ADD2-2FF4CF160EA4}" destId="{8ADE97C1-A072-4A1F-98D0-3D1F6709BE99}" srcOrd="1" destOrd="0" presId="urn:microsoft.com/office/officeart/2005/8/layout/list1"/>
    <dgm:cxn modelId="{84B3F892-622E-4971-97BF-DD02B736A8A4}" srcId="{70E7E4ED-4075-4C79-892B-59713DE3656D}" destId="{55554ABE-44B4-4DC6-BC6D-E31A8BACD25E}" srcOrd="0" destOrd="0" parTransId="{B4F2515C-AAA1-4781-B53E-1AA9D8B48237}" sibTransId="{06D8D9AA-2750-45CA-BEFB-A8C036D1CAB3}"/>
    <dgm:cxn modelId="{FA8CBFE7-1B84-4A09-95D3-E2C77DDCB5EE}" type="presOf" srcId="{BD97C6C9-2419-469D-9127-CCB0B183A5B1}" destId="{CA190715-518D-4A45-8E5D-1E4D58CFF52A}" srcOrd="0" destOrd="3" presId="urn:microsoft.com/office/officeart/2005/8/layout/list1"/>
    <dgm:cxn modelId="{BBBB1D2F-2D09-4B40-97DA-CD812D4F557D}" type="presOf" srcId="{ED5BB763-12A1-4514-A10E-4EA4987D0DB8}" destId="{CA190715-518D-4A45-8E5D-1E4D58CFF52A}" srcOrd="0" destOrd="1" presId="urn:microsoft.com/office/officeart/2005/8/layout/list1"/>
    <dgm:cxn modelId="{7D0659AE-2400-4BDA-B2C8-6011866B571A}" srcId="{12EB48E0-C150-476F-ADD2-2FF4CF160EA4}" destId="{BD97C6C9-2419-469D-9127-CCB0B183A5B1}" srcOrd="3" destOrd="0" parTransId="{5FBFE0A8-FE2A-4E40-8D0B-8076599DA95B}" sibTransId="{8CEA4DA5-9A69-48C8-85FD-E3C25071BBCF}"/>
    <dgm:cxn modelId="{5AF56741-0192-4D5A-819A-85C7F49B1C30}" srcId="{55554ABE-44B4-4DC6-BC6D-E31A8BACD25E}" destId="{007A89EE-2A89-439A-BB4E-BB68A5F7BE63}" srcOrd="1" destOrd="0" parTransId="{8993CAEE-6A29-4CC1-90B1-987D3D574DC9}" sibTransId="{B7721F67-E66A-49CD-991C-0D36D61DC57F}"/>
    <dgm:cxn modelId="{C588EC0D-263D-4277-947C-1A73AEB29FB4}" type="presOf" srcId="{E6F494A8-8B96-40B4-AF10-D1683F210D0A}" destId="{CA190715-518D-4A45-8E5D-1E4D58CFF52A}" srcOrd="0" destOrd="0" presId="urn:microsoft.com/office/officeart/2005/8/layout/list1"/>
    <dgm:cxn modelId="{3ED608DE-A267-49C8-8E6F-1120BA374E03}" type="presOf" srcId="{C9E9CE1A-AC8E-40B5-9A0F-5F7036035B04}" destId="{CA190715-518D-4A45-8E5D-1E4D58CFF52A}" srcOrd="0" destOrd="2" presId="urn:microsoft.com/office/officeart/2005/8/layout/list1"/>
    <dgm:cxn modelId="{DB42B9A4-6EB5-4EAE-96A0-232BBCC1469C}" type="presOf" srcId="{55554ABE-44B4-4DC6-BC6D-E31A8BACD25E}" destId="{0E1906B0-2B9B-4965-ABEE-F9F4C9860296}" srcOrd="0" destOrd="0" presId="urn:microsoft.com/office/officeart/2005/8/layout/list1"/>
    <dgm:cxn modelId="{17437214-9EEC-4703-B442-9EEA9BAEC6B4}" type="presOf" srcId="{55554ABE-44B4-4DC6-BC6D-E31A8BACD25E}" destId="{6E6C57BF-2106-4A02-9A95-C2FCD12292EA}" srcOrd="1" destOrd="0" presId="urn:microsoft.com/office/officeart/2005/8/layout/list1"/>
    <dgm:cxn modelId="{7597060B-3995-4013-B09E-9348130A4643}" srcId="{12EB48E0-C150-476F-ADD2-2FF4CF160EA4}" destId="{C9E9CE1A-AC8E-40B5-9A0F-5F7036035B04}" srcOrd="2" destOrd="0" parTransId="{40E50578-E727-459C-B8DD-02C4119C952B}" sibTransId="{788D15C0-A4F9-4764-9711-2A3BAE9A6B64}"/>
    <dgm:cxn modelId="{778DA862-08E6-4A99-9A96-4D69F5DAFE89}" type="presOf" srcId="{12EB48E0-C150-476F-ADD2-2FF4CF160EA4}" destId="{76F907A5-1E09-4EAB-9C1A-4FA4C46158C9}" srcOrd="0" destOrd="0" presId="urn:microsoft.com/office/officeart/2005/8/layout/list1"/>
    <dgm:cxn modelId="{2342E131-3524-4411-979C-1AA3421D0F3A}" srcId="{70E7E4ED-4075-4C79-892B-59713DE3656D}" destId="{12EB48E0-C150-476F-ADD2-2FF4CF160EA4}" srcOrd="1" destOrd="0" parTransId="{E1478186-3752-42C7-B67A-AE9571627ED7}" sibTransId="{B8AA3DAE-7696-4937-9B6D-D9297B0ECE4C}"/>
    <dgm:cxn modelId="{055112C6-8555-4D16-8F2C-0E346FB72393}" type="presOf" srcId="{129460C4-69D5-4817-9B5E-DC367C31ABCC}" destId="{D05F1998-5B9B-4903-B3B0-4FFFD5085673}" srcOrd="0" destOrd="0" presId="urn:microsoft.com/office/officeart/2005/8/layout/list1"/>
    <dgm:cxn modelId="{21BC71C8-A370-4C90-A8DB-CA6572545A58}" type="presOf" srcId="{007A89EE-2A89-439A-BB4E-BB68A5F7BE63}" destId="{D05F1998-5B9B-4903-B3B0-4FFFD5085673}" srcOrd="0" destOrd="1" presId="urn:microsoft.com/office/officeart/2005/8/layout/list1"/>
    <dgm:cxn modelId="{89566D2F-9515-428C-9ABB-BAAD5524F1E4}" srcId="{12EB48E0-C150-476F-ADD2-2FF4CF160EA4}" destId="{ED5BB763-12A1-4514-A10E-4EA4987D0DB8}" srcOrd="1" destOrd="0" parTransId="{732CEB36-CAC6-4E1E-AF9F-542CEC8EC121}" sibTransId="{2D1F2936-F1C2-4DBC-93EF-483B6A41F84B}"/>
    <dgm:cxn modelId="{B036AEDC-789B-48D3-95B7-55D86CB21B3A}" type="presParOf" srcId="{0C0586BC-A732-4167-8B42-BC99F479D2AB}" destId="{BC17576D-A87E-4BA5-A15D-DEF29E5F7785}" srcOrd="0" destOrd="0" presId="urn:microsoft.com/office/officeart/2005/8/layout/list1"/>
    <dgm:cxn modelId="{1DB465AF-ECC8-448C-9E60-78D499155734}" type="presParOf" srcId="{BC17576D-A87E-4BA5-A15D-DEF29E5F7785}" destId="{0E1906B0-2B9B-4965-ABEE-F9F4C9860296}" srcOrd="0" destOrd="0" presId="urn:microsoft.com/office/officeart/2005/8/layout/list1"/>
    <dgm:cxn modelId="{A7F8736A-3608-48E9-8502-1D291694AC05}" type="presParOf" srcId="{BC17576D-A87E-4BA5-A15D-DEF29E5F7785}" destId="{6E6C57BF-2106-4A02-9A95-C2FCD12292EA}" srcOrd="1" destOrd="0" presId="urn:microsoft.com/office/officeart/2005/8/layout/list1"/>
    <dgm:cxn modelId="{55B0EF45-2A8E-4C27-A777-AA3E0627AB2E}" type="presParOf" srcId="{0C0586BC-A732-4167-8B42-BC99F479D2AB}" destId="{73AD8E41-3518-4B99-A64D-2F86260509E6}" srcOrd="1" destOrd="0" presId="urn:microsoft.com/office/officeart/2005/8/layout/list1"/>
    <dgm:cxn modelId="{E6453796-2313-46DC-8AC6-D7CD00C98786}" type="presParOf" srcId="{0C0586BC-A732-4167-8B42-BC99F479D2AB}" destId="{D05F1998-5B9B-4903-B3B0-4FFFD5085673}" srcOrd="2" destOrd="0" presId="urn:microsoft.com/office/officeart/2005/8/layout/list1"/>
    <dgm:cxn modelId="{5A76D28C-C6EB-46A6-93D8-18BC67CB7C02}" type="presParOf" srcId="{0C0586BC-A732-4167-8B42-BC99F479D2AB}" destId="{B4B95110-A2FF-4743-A8F4-8C0487809776}" srcOrd="3" destOrd="0" presId="urn:microsoft.com/office/officeart/2005/8/layout/list1"/>
    <dgm:cxn modelId="{198BB75E-91C1-46B0-A185-2B30C5C61FAA}" type="presParOf" srcId="{0C0586BC-A732-4167-8B42-BC99F479D2AB}" destId="{2996BE72-82BC-40D0-B2C3-1028AC767DD9}" srcOrd="4" destOrd="0" presId="urn:microsoft.com/office/officeart/2005/8/layout/list1"/>
    <dgm:cxn modelId="{20236A4C-92C0-4B8D-ADD8-AD84513F16DC}" type="presParOf" srcId="{2996BE72-82BC-40D0-B2C3-1028AC767DD9}" destId="{76F907A5-1E09-4EAB-9C1A-4FA4C46158C9}" srcOrd="0" destOrd="0" presId="urn:microsoft.com/office/officeart/2005/8/layout/list1"/>
    <dgm:cxn modelId="{203847CF-CA18-44FB-8505-B0F1F6939108}" type="presParOf" srcId="{2996BE72-82BC-40D0-B2C3-1028AC767DD9}" destId="{8ADE97C1-A072-4A1F-98D0-3D1F6709BE99}" srcOrd="1" destOrd="0" presId="urn:microsoft.com/office/officeart/2005/8/layout/list1"/>
    <dgm:cxn modelId="{A6B79795-8682-49A7-A07A-CFBF06010981}" type="presParOf" srcId="{0C0586BC-A732-4167-8B42-BC99F479D2AB}" destId="{0F01006B-996E-4CC1-866A-FC01818C377B}" srcOrd="5" destOrd="0" presId="urn:microsoft.com/office/officeart/2005/8/layout/list1"/>
    <dgm:cxn modelId="{DCFB1804-590C-43AE-87F9-CFFB99346551}" type="presParOf" srcId="{0C0586BC-A732-4167-8B42-BC99F479D2AB}" destId="{CA190715-518D-4A45-8E5D-1E4D58CFF52A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70E7E4ED-4075-4C79-892B-59713DE3656D}" type="doc">
      <dgm:prSet loTypeId="urn:microsoft.com/office/officeart/2005/8/layout/list1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s-CO"/>
        </a:p>
      </dgm:t>
    </dgm:pt>
    <dgm:pt modelId="{55554ABE-44B4-4DC6-BC6D-E31A8BACD25E}">
      <dgm:prSet phldrT="[Texto]" custT="1"/>
      <dgm:spPr/>
      <dgm:t>
        <a:bodyPr/>
        <a:lstStyle/>
        <a:p>
          <a:pPr algn="just"/>
          <a:r>
            <a:rPr lang="es-CO" sz="2400" b="1" dirty="0" smtClean="0">
              <a:solidFill>
                <a:srgbClr val="C00000"/>
              </a:solidFill>
            </a:rPr>
            <a:t>REQUERIMIENTO INMEDIATO</a:t>
          </a:r>
          <a:endParaRPr lang="es-CO" sz="2400" b="1" dirty="0">
            <a:solidFill>
              <a:srgbClr val="C00000"/>
            </a:solidFill>
          </a:endParaRPr>
        </a:p>
      </dgm:t>
    </dgm:pt>
    <dgm:pt modelId="{B4F2515C-AAA1-4781-B53E-1AA9D8B48237}" type="parTrans" cxnId="{84B3F892-622E-4971-97BF-DD02B736A8A4}">
      <dgm:prSet/>
      <dgm:spPr/>
      <dgm:t>
        <a:bodyPr/>
        <a:lstStyle/>
        <a:p>
          <a:pPr algn="just"/>
          <a:endParaRPr lang="es-CO"/>
        </a:p>
      </dgm:t>
    </dgm:pt>
    <dgm:pt modelId="{06D8D9AA-2750-45CA-BEFB-A8C036D1CAB3}" type="sibTrans" cxnId="{84B3F892-622E-4971-97BF-DD02B736A8A4}">
      <dgm:prSet/>
      <dgm:spPr/>
      <dgm:t>
        <a:bodyPr/>
        <a:lstStyle/>
        <a:p>
          <a:pPr algn="just"/>
          <a:endParaRPr lang="es-CO"/>
        </a:p>
      </dgm:t>
    </dgm:pt>
    <dgm:pt modelId="{129460C4-69D5-4817-9B5E-DC367C31ABCC}">
      <dgm:prSet phldrT="[Texto]" custT="1"/>
      <dgm:spPr>
        <a:solidFill>
          <a:schemeClr val="accent3">
            <a:lumMod val="40000"/>
            <a:lumOff val="60000"/>
            <a:alpha val="90000"/>
          </a:schemeClr>
        </a:solidFill>
      </dgm:spPr>
      <dgm:t>
        <a:bodyPr/>
        <a:lstStyle/>
        <a:p>
          <a:pPr algn="just"/>
          <a:r>
            <a:rPr lang="es-CO" sz="2400" dirty="0" smtClean="0"/>
            <a:t>Hacer un estudio particular sobre la forma como las SEC asumen el papel de la educación para el Trabajo y el Desarrollo Humano.</a:t>
          </a:r>
          <a:endParaRPr lang="es-CO" sz="2400" dirty="0"/>
        </a:p>
      </dgm:t>
    </dgm:pt>
    <dgm:pt modelId="{BD404738-3E46-46DF-A54D-8A0A5A292A30}" type="parTrans" cxnId="{1F2F74CF-0B73-4A7D-B994-5A8A27CB5EA1}">
      <dgm:prSet/>
      <dgm:spPr/>
      <dgm:t>
        <a:bodyPr/>
        <a:lstStyle/>
        <a:p>
          <a:pPr algn="just"/>
          <a:endParaRPr lang="es-CO"/>
        </a:p>
      </dgm:t>
    </dgm:pt>
    <dgm:pt modelId="{97E943D5-4C18-4D4B-8DA5-4359F675AF6A}" type="sibTrans" cxnId="{1F2F74CF-0B73-4A7D-B994-5A8A27CB5EA1}">
      <dgm:prSet/>
      <dgm:spPr/>
      <dgm:t>
        <a:bodyPr/>
        <a:lstStyle/>
        <a:p>
          <a:pPr algn="just"/>
          <a:endParaRPr lang="es-CO"/>
        </a:p>
      </dgm:t>
    </dgm:pt>
    <dgm:pt modelId="{007A89EE-2A89-439A-BB4E-BB68A5F7BE63}">
      <dgm:prSet custT="1"/>
      <dgm:spPr>
        <a:solidFill>
          <a:schemeClr val="accent3">
            <a:lumMod val="40000"/>
            <a:lumOff val="60000"/>
            <a:alpha val="90000"/>
          </a:schemeClr>
        </a:solidFill>
      </dgm:spPr>
      <dgm:t>
        <a:bodyPr/>
        <a:lstStyle/>
        <a:p>
          <a:pPr algn="just"/>
          <a:r>
            <a:rPr lang="es-ES_tradnl" sz="2400" dirty="0" smtClean="0"/>
            <a:t>Conocer la percepción de las Instituciones de Educación para el Trabajo y el Desarrollo Humano sobre sus necesidades y requerimientos frente a las SEC.</a:t>
          </a:r>
          <a:endParaRPr lang="es-CO" sz="2400" dirty="0"/>
        </a:p>
      </dgm:t>
    </dgm:pt>
    <dgm:pt modelId="{8993CAEE-6A29-4CC1-90B1-987D3D574DC9}" type="parTrans" cxnId="{5AF56741-0192-4D5A-819A-85C7F49B1C30}">
      <dgm:prSet/>
      <dgm:spPr/>
      <dgm:t>
        <a:bodyPr/>
        <a:lstStyle/>
        <a:p>
          <a:pPr algn="just"/>
          <a:endParaRPr lang="es-CO"/>
        </a:p>
      </dgm:t>
    </dgm:pt>
    <dgm:pt modelId="{B7721F67-E66A-49CD-991C-0D36D61DC57F}" type="sibTrans" cxnId="{5AF56741-0192-4D5A-819A-85C7F49B1C30}">
      <dgm:prSet/>
      <dgm:spPr/>
      <dgm:t>
        <a:bodyPr/>
        <a:lstStyle/>
        <a:p>
          <a:pPr algn="just"/>
          <a:endParaRPr lang="es-CO"/>
        </a:p>
      </dgm:t>
    </dgm:pt>
    <dgm:pt modelId="{D4F9ACD5-6E9C-414F-A154-F0E137130917}">
      <dgm:prSet custT="1"/>
      <dgm:spPr>
        <a:solidFill>
          <a:schemeClr val="accent3">
            <a:lumMod val="40000"/>
            <a:lumOff val="60000"/>
            <a:alpha val="90000"/>
          </a:schemeClr>
        </a:solidFill>
      </dgm:spPr>
      <dgm:t>
        <a:bodyPr/>
        <a:lstStyle/>
        <a:p>
          <a:pPr algn="just"/>
          <a:r>
            <a:rPr lang="es-CO" sz="2400" dirty="0" smtClean="0"/>
            <a:t>Contratar al Politécnico Jaime </a:t>
          </a:r>
          <a:r>
            <a:rPr lang="es-CO" sz="2400" dirty="0" err="1" smtClean="0"/>
            <a:t>Isaza</a:t>
          </a:r>
          <a:r>
            <a:rPr lang="es-CO" sz="2400" dirty="0" smtClean="0"/>
            <a:t> </a:t>
          </a:r>
          <a:r>
            <a:rPr lang="es-CO" sz="2400" dirty="0" err="1" smtClean="0"/>
            <a:t>Cadavid</a:t>
          </a:r>
          <a:r>
            <a:rPr lang="es-CO" sz="2400" dirty="0" smtClean="0"/>
            <a:t> para practicar un rápido estudio particular.</a:t>
          </a:r>
          <a:endParaRPr lang="es-CO" sz="2400" dirty="0"/>
        </a:p>
      </dgm:t>
    </dgm:pt>
    <dgm:pt modelId="{172A6AF6-F947-4514-9D11-EB5DD339CC0D}" type="parTrans" cxnId="{37EDCB8B-ED6B-4F12-8E44-21F71192D5C0}">
      <dgm:prSet/>
      <dgm:spPr/>
      <dgm:t>
        <a:bodyPr/>
        <a:lstStyle/>
        <a:p>
          <a:pPr algn="just"/>
          <a:endParaRPr lang="es-ES"/>
        </a:p>
      </dgm:t>
    </dgm:pt>
    <dgm:pt modelId="{EE82EA62-385F-4E50-B181-6975FDE77366}" type="sibTrans" cxnId="{37EDCB8B-ED6B-4F12-8E44-21F71192D5C0}">
      <dgm:prSet/>
      <dgm:spPr/>
      <dgm:t>
        <a:bodyPr/>
        <a:lstStyle/>
        <a:p>
          <a:pPr algn="just"/>
          <a:endParaRPr lang="es-ES"/>
        </a:p>
      </dgm:t>
    </dgm:pt>
    <dgm:pt modelId="{2FF1A5FB-9705-4877-81EB-D14A3F302890}">
      <dgm:prSet custT="1"/>
      <dgm:spPr>
        <a:solidFill>
          <a:schemeClr val="accent3">
            <a:lumMod val="40000"/>
            <a:lumOff val="60000"/>
            <a:alpha val="90000"/>
          </a:schemeClr>
        </a:solidFill>
      </dgm:spPr>
      <dgm:t>
        <a:bodyPr/>
        <a:lstStyle/>
        <a:p>
          <a:pPr algn="just"/>
          <a:r>
            <a:rPr lang="es-CO" sz="2400" dirty="0" smtClean="0"/>
            <a:t>Tomar una muestra de 50 SEC y hacer un levantamiento de información.</a:t>
          </a:r>
          <a:endParaRPr lang="es-CO" sz="2400" dirty="0"/>
        </a:p>
      </dgm:t>
    </dgm:pt>
    <dgm:pt modelId="{69F5141C-4394-4887-BC87-75DEF7FF2392}" type="parTrans" cxnId="{5C972CCF-7185-4257-96FA-1B37275E9EAF}">
      <dgm:prSet/>
      <dgm:spPr/>
      <dgm:t>
        <a:bodyPr/>
        <a:lstStyle/>
        <a:p>
          <a:pPr algn="just"/>
          <a:endParaRPr lang="es-ES"/>
        </a:p>
      </dgm:t>
    </dgm:pt>
    <dgm:pt modelId="{5C191105-BB3C-4045-8D23-EA41084BC36D}" type="sibTrans" cxnId="{5C972CCF-7185-4257-96FA-1B37275E9EAF}">
      <dgm:prSet/>
      <dgm:spPr/>
      <dgm:t>
        <a:bodyPr/>
        <a:lstStyle/>
        <a:p>
          <a:pPr algn="just"/>
          <a:endParaRPr lang="es-ES"/>
        </a:p>
      </dgm:t>
    </dgm:pt>
    <dgm:pt modelId="{0C0586BC-A732-4167-8B42-BC99F479D2AB}" type="pres">
      <dgm:prSet presAssocID="{70E7E4ED-4075-4C79-892B-59713DE3656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BC17576D-A87E-4BA5-A15D-DEF29E5F7785}" type="pres">
      <dgm:prSet presAssocID="{55554ABE-44B4-4DC6-BC6D-E31A8BACD25E}" presName="parentLin" presStyleCnt="0"/>
      <dgm:spPr/>
    </dgm:pt>
    <dgm:pt modelId="{0E1906B0-2B9B-4965-ABEE-F9F4C9860296}" type="pres">
      <dgm:prSet presAssocID="{55554ABE-44B4-4DC6-BC6D-E31A8BACD25E}" presName="parentLeftMargin" presStyleLbl="node1" presStyleIdx="0" presStyleCnt="1"/>
      <dgm:spPr/>
      <dgm:t>
        <a:bodyPr/>
        <a:lstStyle/>
        <a:p>
          <a:endParaRPr lang="es-CO"/>
        </a:p>
      </dgm:t>
    </dgm:pt>
    <dgm:pt modelId="{6E6C57BF-2106-4A02-9A95-C2FCD12292EA}" type="pres">
      <dgm:prSet presAssocID="{55554ABE-44B4-4DC6-BC6D-E31A8BACD25E}" presName="parentText" presStyleLbl="node1" presStyleIdx="0" presStyleCnt="1" custScaleY="69919">
        <dgm:presLayoutVars>
          <dgm:chMax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73AD8E41-3518-4B99-A64D-2F86260509E6}" type="pres">
      <dgm:prSet presAssocID="{55554ABE-44B4-4DC6-BC6D-E31A8BACD25E}" presName="negativeSpace" presStyleCnt="0"/>
      <dgm:spPr/>
    </dgm:pt>
    <dgm:pt modelId="{D05F1998-5B9B-4903-B3B0-4FFFD5085673}" type="pres">
      <dgm:prSet presAssocID="{55554ABE-44B4-4DC6-BC6D-E31A8BACD25E}" presName="childText" presStyleLbl="conFgAcc1" presStyleIdx="0" presStyleCnt="1" custLinFactNeighborY="4417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4493E279-FA8F-495F-8408-3F86AD369808}" type="presOf" srcId="{007A89EE-2A89-439A-BB4E-BB68A5F7BE63}" destId="{D05F1998-5B9B-4903-B3B0-4FFFD5085673}" srcOrd="0" destOrd="1" presId="urn:microsoft.com/office/officeart/2005/8/layout/list1"/>
    <dgm:cxn modelId="{2A8AFD4D-3053-4073-AC0D-B5C16ED0EAEC}" type="presOf" srcId="{55554ABE-44B4-4DC6-BC6D-E31A8BACD25E}" destId="{0E1906B0-2B9B-4965-ABEE-F9F4C9860296}" srcOrd="0" destOrd="0" presId="urn:microsoft.com/office/officeart/2005/8/layout/list1"/>
    <dgm:cxn modelId="{84B3F892-622E-4971-97BF-DD02B736A8A4}" srcId="{70E7E4ED-4075-4C79-892B-59713DE3656D}" destId="{55554ABE-44B4-4DC6-BC6D-E31A8BACD25E}" srcOrd="0" destOrd="0" parTransId="{B4F2515C-AAA1-4781-B53E-1AA9D8B48237}" sibTransId="{06D8D9AA-2750-45CA-BEFB-A8C036D1CAB3}"/>
    <dgm:cxn modelId="{523B4AE0-588B-4857-9430-ED24579C1776}" type="presOf" srcId="{129460C4-69D5-4817-9B5E-DC367C31ABCC}" destId="{D05F1998-5B9B-4903-B3B0-4FFFD5085673}" srcOrd="0" destOrd="0" presId="urn:microsoft.com/office/officeart/2005/8/layout/list1"/>
    <dgm:cxn modelId="{5AF56741-0192-4D5A-819A-85C7F49B1C30}" srcId="{55554ABE-44B4-4DC6-BC6D-E31A8BACD25E}" destId="{007A89EE-2A89-439A-BB4E-BB68A5F7BE63}" srcOrd="1" destOrd="0" parTransId="{8993CAEE-6A29-4CC1-90B1-987D3D574DC9}" sibTransId="{B7721F67-E66A-49CD-991C-0D36D61DC57F}"/>
    <dgm:cxn modelId="{5C972CCF-7185-4257-96FA-1B37275E9EAF}" srcId="{55554ABE-44B4-4DC6-BC6D-E31A8BACD25E}" destId="{2FF1A5FB-9705-4877-81EB-D14A3F302890}" srcOrd="3" destOrd="0" parTransId="{69F5141C-4394-4887-BC87-75DEF7FF2392}" sibTransId="{5C191105-BB3C-4045-8D23-EA41084BC36D}"/>
    <dgm:cxn modelId="{37EDCB8B-ED6B-4F12-8E44-21F71192D5C0}" srcId="{55554ABE-44B4-4DC6-BC6D-E31A8BACD25E}" destId="{D4F9ACD5-6E9C-414F-A154-F0E137130917}" srcOrd="2" destOrd="0" parTransId="{172A6AF6-F947-4514-9D11-EB5DD339CC0D}" sibTransId="{EE82EA62-385F-4E50-B181-6975FDE77366}"/>
    <dgm:cxn modelId="{7970B1E4-C2A2-4C7A-9B1A-1E53BE768ECF}" type="presOf" srcId="{70E7E4ED-4075-4C79-892B-59713DE3656D}" destId="{0C0586BC-A732-4167-8B42-BC99F479D2AB}" srcOrd="0" destOrd="0" presId="urn:microsoft.com/office/officeart/2005/8/layout/list1"/>
    <dgm:cxn modelId="{6EDB2813-426E-45E5-9EA1-772F980F14D8}" type="presOf" srcId="{55554ABE-44B4-4DC6-BC6D-E31A8BACD25E}" destId="{6E6C57BF-2106-4A02-9A95-C2FCD12292EA}" srcOrd="1" destOrd="0" presId="urn:microsoft.com/office/officeart/2005/8/layout/list1"/>
    <dgm:cxn modelId="{D1CB0D93-65FD-4E1B-AEC0-CC5A313AA281}" type="presOf" srcId="{2FF1A5FB-9705-4877-81EB-D14A3F302890}" destId="{D05F1998-5B9B-4903-B3B0-4FFFD5085673}" srcOrd="0" destOrd="3" presId="urn:microsoft.com/office/officeart/2005/8/layout/list1"/>
    <dgm:cxn modelId="{1F2F74CF-0B73-4A7D-B994-5A8A27CB5EA1}" srcId="{55554ABE-44B4-4DC6-BC6D-E31A8BACD25E}" destId="{129460C4-69D5-4817-9B5E-DC367C31ABCC}" srcOrd="0" destOrd="0" parTransId="{BD404738-3E46-46DF-A54D-8A0A5A292A30}" sibTransId="{97E943D5-4C18-4D4B-8DA5-4359F675AF6A}"/>
    <dgm:cxn modelId="{A9C121E0-3918-4B4F-A5D7-B18A3D29D3FC}" type="presOf" srcId="{D4F9ACD5-6E9C-414F-A154-F0E137130917}" destId="{D05F1998-5B9B-4903-B3B0-4FFFD5085673}" srcOrd="0" destOrd="2" presId="urn:microsoft.com/office/officeart/2005/8/layout/list1"/>
    <dgm:cxn modelId="{BF91D2BF-EC42-4EE3-9301-3F5CB5CAE7C3}" type="presParOf" srcId="{0C0586BC-A732-4167-8B42-BC99F479D2AB}" destId="{BC17576D-A87E-4BA5-A15D-DEF29E5F7785}" srcOrd="0" destOrd="0" presId="urn:microsoft.com/office/officeart/2005/8/layout/list1"/>
    <dgm:cxn modelId="{8EB23AFE-7D3B-42F0-958D-BA0197FEAEEC}" type="presParOf" srcId="{BC17576D-A87E-4BA5-A15D-DEF29E5F7785}" destId="{0E1906B0-2B9B-4965-ABEE-F9F4C9860296}" srcOrd="0" destOrd="0" presId="urn:microsoft.com/office/officeart/2005/8/layout/list1"/>
    <dgm:cxn modelId="{0400E1D3-41A8-428D-A070-31173A4E863F}" type="presParOf" srcId="{BC17576D-A87E-4BA5-A15D-DEF29E5F7785}" destId="{6E6C57BF-2106-4A02-9A95-C2FCD12292EA}" srcOrd="1" destOrd="0" presId="urn:microsoft.com/office/officeart/2005/8/layout/list1"/>
    <dgm:cxn modelId="{31F55907-A137-40D3-AAE9-327E2D0F1CD1}" type="presParOf" srcId="{0C0586BC-A732-4167-8B42-BC99F479D2AB}" destId="{73AD8E41-3518-4B99-A64D-2F86260509E6}" srcOrd="1" destOrd="0" presId="urn:microsoft.com/office/officeart/2005/8/layout/list1"/>
    <dgm:cxn modelId="{87CE4341-C637-4DA3-B5FA-FF967D27D9AD}" type="presParOf" srcId="{0C0586BC-A732-4167-8B42-BC99F479D2AB}" destId="{D05F1998-5B9B-4903-B3B0-4FFFD5085673}" srcOrd="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3917FCDC-E054-4D0D-A491-ED4F082202F5}" type="doc">
      <dgm:prSet loTypeId="urn:microsoft.com/office/officeart/2005/8/layout/target2" loCatId="relationship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s-CO"/>
        </a:p>
      </dgm:t>
    </dgm:pt>
    <dgm:pt modelId="{4469965B-D5B0-477D-8E0C-0A92795F79C8}">
      <dgm:prSet phldrT="[Texto]"/>
      <dgm:spPr/>
      <dgm:t>
        <a:bodyPr/>
        <a:lstStyle/>
        <a:p>
          <a:r>
            <a:rPr lang="es-CO" b="1" dirty="0" smtClean="0"/>
            <a:t>CONSOLIDAR SISTEMA NAL DE FORMACION PARA EL TRABAJO</a:t>
          </a:r>
          <a:endParaRPr lang="es-CO" b="1" dirty="0"/>
        </a:p>
      </dgm:t>
    </dgm:pt>
    <dgm:pt modelId="{72DCC20A-530C-4C3C-804F-0F4945B5CEA1}" type="parTrans" cxnId="{D29E7CE6-B5C2-4CFB-8CB7-7A6F7E2D51A2}">
      <dgm:prSet/>
      <dgm:spPr/>
      <dgm:t>
        <a:bodyPr/>
        <a:lstStyle/>
        <a:p>
          <a:endParaRPr lang="es-CO"/>
        </a:p>
      </dgm:t>
    </dgm:pt>
    <dgm:pt modelId="{73DE955F-14D5-4696-8929-DCAEF1E0F5A4}" type="sibTrans" cxnId="{D29E7CE6-B5C2-4CFB-8CB7-7A6F7E2D51A2}">
      <dgm:prSet/>
      <dgm:spPr/>
      <dgm:t>
        <a:bodyPr/>
        <a:lstStyle/>
        <a:p>
          <a:endParaRPr lang="es-CO"/>
        </a:p>
      </dgm:t>
    </dgm:pt>
    <dgm:pt modelId="{18CC1DAF-4CEA-4607-A34D-F7292DC0DE62}">
      <dgm:prSet phldrT="[Texto]" custT="1"/>
      <dgm:spPr/>
      <dgm:t>
        <a:bodyPr/>
        <a:lstStyle/>
        <a:p>
          <a:r>
            <a:rPr lang="es-CO" sz="1200" dirty="0" smtClean="0"/>
            <a:t> IMAGEN  NAL E INTERNACIONAL</a:t>
          </a:r>
          <a:endParaRPr lang="es-CO" sz="1200" dirty="0"/>
        </a:p>
      </dgm:t>
    </dgm:pt>
    <dgm:pt modelId="{1029091E-AE6F-4EAA-8CE2-860C2D9F7516}" type="parTrans" cxnId="{8347CD51-98AE-44E0-9B49-7756EFC99AFE}">
      <dgm:prSet/>
      <dgm:spPr/>
      <dgm:t>
        <a:bodyPr/>
        <a:lstStyle/>
        <a:p>
          <a:endParaRPr lang="es-CO"/>
        </a:p>
      </dgm:t>
    </dgm:pt>
    <dgm:pt modelId="{0CA196D2-5783-4BC6-BCD5-BFF10C663211}" type="sibTrans" cxnId="{8347CD51-98AE-44E0-9B49-7756EFC99AFE}">
      <dgm:prSet/>
      <dgm:spPr/>
      <dgm:t>
        <a:bodyPr/>
        <a:lstStyle/>
        <a:p>
          <a:endParaRPr lang="es-CO"/>
        </a:p>
      </dgm:t>
    </dgm:pt>
    <dgm:pt modelId="{C718C459-46D0-4E8B-A439-BF75E63FC8C7}">
      <dgm:prSet phldrT="[Texto]" custT="1"/>
      <dgm:spPr/>
      <dgm:t>
        <a:bodyPr/>
        <a:lstStyle/>
        <a:p>
          <a:r>
            <a:rPr lang="es-CO" sz="1200" dirty="0" smtClean="0"/>
            <a:t>INSTITUCIONES DE ALTA CALIDAD</a:t>
          </a:r>
          <a:endParaRPr lang="es-CO" sz="1200" dirty="0"/>
        </a:p>
      </dgm:t>
    </dgm:pt>
    <dgm:pt modelId="{F14FC9B1-6D91-47B9-A1B6-6E93C0617080}" type="parTrans" cxnId="{C8E3F290-D079-46DA-8F23-D968A323EADD}">
      <dgm:prSet/>
      <dgm:spPr/>
      <dgm:t>
        <a:bodyPr/>
        <a:lstStyle/>
        <a:p>
          <a:endParaRPr lang="es-CO"/>
        </a:p>
      </dgm:t>
    </dgm:pt>
    <dgm:pt modelId="{965BA854-3DC6-4F0B-A894-8172798C6035}" type="sibTrans" cxnId="{C8E3F290-D079-46DA-8F23-D968A323EADD}">
      <dgm:prSet/>
      <dgm:spPr/>
      <dgm:t>
        <a:bodyPr/>
        <a:lstStyle/>
        <a:p>
          <a:endParaRPr lang="es-CO"/>
        </a:p>
      </dgm:t>
    </dgm:pt>
    <dgm:pt modelId="{85C0B18E-FCBF-467D-838C-D930E3795688}">
      <dgm:prSet phldrT="[Texto]" custT="1"/>
      <dgm:spPr/>
      <dgm:t>
        <a:bodyPr/>
        <a:lstStyle/>
        <a:p>
          <a:r>
            <a:rPr lang="es-CO" sz="2400" b="1" dirty="0" smtClean="0"/>
            <a:t>MEJORAR CALIDAD Y </a:t>
          </a:r>
        </a:p>
        <a:p>
          <a:r>
            <a:rPr lang="es-CO" sz="2400" b="1" dirty="0" smtClean="0"/>
            <a:t>PERTINENCIA DE LA ETDH</a:t>
          </a:r>
          <a:endParaRPr lang="es-CO" sz="2400" b="1" dirty="0"/>
        </a:p>
      </dgm:t>
    </dgm:pt>
    <dgm:pt modelId="{37BEEA1E-6EFB-4669-9DF8-DE7943D1F10D}" type="parTrans" cxnId="{91CAEE04-0672-493A-B378-1335490820B3}">
      <dgm:prSet/>
      <dgm:spPr/>
      <dgm:t>
        <a:bodyPr/>
        <a:lstStyle/>
        <a:p>
          <a:endParaRPr lang="es-CO"/>
        </a:p>
      </dgm:t>
    </dgm:pt>
    <dgm:pt modelId="{2196842E-81D5-43F0-B57E-15F02B4F9406}" type="sibTrans" cxnId="{91CAEE04-0672-493A-B378-1335490820B3}">
      <dgm:prSet/>
      <dgm:spPr/>
      <dgm:t>
        <a:bodyPr/>
        <a:lstStyle/>
        <a:p>
          <a:endParaRPr lang="es-CO"/>
        </a:p>
      </dgm:t>
    </dgm:pt>
    <dgm:pt modelId="{FDAA2013-8BDD-495E-84FA-AC4D6AED34FF}">
      <dgm:prSet phldrT="[Texto]" custT="1"/>
      <dgm:spPr/>
      <dgm:t>
        <a:bodyPr/>
        <a:lstStyle/>
        <a:p>
          <a:r>
            <a:rPr lang="es-CO" sz="1100" dirty="0" smtClean="0"/>
            <a:t>CALIDAD PROGRAMAS E INSTITUCIONES</a:t>
          </a:r>
          <a:endParaRPr lang="es-CO" sz="1100" dirty="0"/>
        </a:p>
      </dgm:t>
    </dgm:pt>
    <dgm:pt modelId="{346E4FF1-532D-43B7-BC66-39134E944B09}" type="parTrans" cxnId="{37C9ACF6-2DC1-445D-93E8-422D8EF15098}">
      <dgm:prSet/>
      <dgm:spPr/>
      <dgm:t>
        <a:bodyPr/>
        <a:lstStyle/>
        <a:p>
          <a:endParaRPr lang="es-CO"/>
        </a:p>
      </dgm:t>
    </dgm:pt>
    <dgm:pt modelId="{8BCD6BBF-713D-4A10-B705-B62E7E3754B9}" type="sibTrans" cxnId="{37C9ACF6-2DC1-445D-93E8-422D8EF15098}">
      <dgm:prSet/>
      <dgm:spPr/>
      <dgm:t>
        <a:bodyPr/>
        <a:lstStyle/>
        <a:p>
          <a:endParaRPr lang="es-CO"/>
        </a:p>
      </dgm:t>
    </dgm:pt>
    <dgm:pt modelId="{2CDFFE16-ABA3-4D50-B055-0557E9D66CEC}">
      <dgm:prSet phldrT="[Texto]" custT="1"/>
      <dgm:spPr/>
      <dgm:t>
        <a:bodyPr/>
        <a:lstStyle/>
        <a:p>
          <a:r>
            <a:rPr lang="es-CO" sz="1100" dirty="0" smtClean="0"/>
            <a:t>GESTION  INSTITUCIONAL</a:t>
          </a:r>
          <a:endParaRPr lang="es-CO" sz="1100" dirty="0"/>
        </a:p>
      </dgm:t>
    </dgm:pt>
    <dgm:pt modelId="{399D1184-7EA0-4974-93F7-56BC86A81724}" type="parTrans" cxnId="{C65D0C9A-CE54-4E26-B365-112957E08B65}">
      <dgm:prSet/>
      <dgm:spPr/>
      <dgm:t>
        <a:bodyPr/>
        <a:lstStyle/>
        <a:p>
          <a:endParaRPr lang="es-CO"/>
        </a:p>
      </dgm:t>
    </dgm:pt>
    <dgm:pt modelId="{81B4134D-96E3-4EF9-94FF-1FCA9496824D}" type="sibTrans" cxnId="{C65D0C9A-CE54-4E26-B365-112957E08B65}">
      <dgm:prSet/>
      <dgm:spPr/>
      <dgm:t>
        <a:bodyPr/>
        <a:lstStyle/>
        <a:p>
          <a:endParaRPr lang="es-CO"/>
        </a:p>
      </dgm:t>
    </dgm:pt>
    <dgm:pt modelId="{DA88D4E0-F983-4D96-BF41-140A21C5FB47}">
      <dgm:prSet custT="1"/>
      <dgm:spPr/>
      <dgm:t>
        <a:bodyPr/>
        <a:lstStyle/>
        <a:p>
          <a:r>
            <a:rPr lang="es-CO" sz="1100" dirty="0" smtClean="0"/>
            <a:t>ARTICULACIÓN</a:t>
          </a:r>
          <a:endParaRPr lang="es-CO" sz="1100" dirty="0"/>
        </a:p>
      </dgm:t>
    </dgm:pt>
    <dgm:pt modelId="{8EF38D42-FB1E-4A6C-9FE2-3EF0894D865B}" type="parTrans" cxnId="{AF629579-F074-4F53-A0D2-E4B68CE7AB90}">
      <dgm:prSet/>
      <dgm:spPr/>
      <dgm:t>
        <a:bodyPr/>
        <a:lstStyle/>
        <a:p>
          <a:endParaRPr lang="es-CO"/>
        </a:p>
      </dgm:t>
    </dgm:pt>
    <dgm:pt modelId="{CF8C66D3-D0B7-4E3E-AC37-8D46BE53E127}" type="sibTrans" cxnId="{AF629579-F074-4F53-A0D2-E4B68CE7AB90}">
      <dgm:prSet/>
      <dgm:spPr/>
      <dgm:t>
        <a:bodyPr/>
        <a:lstStyle/>
        <a:p>
          <a:endParaRPr lang="es-CO"/>
        </a:p>
      </dgm:t>
    </dgm:pt>
    <dgm:pt modelId="{0A21CA1E-A68F-4AF2-9FF7-5C8DD5D137D2}">
      <dgm:prSet custT="1"/>
      <dgm:spPr/>
      <dgm:t>
        <a:bodyPr/>
        <a:lstStyle/>
        <a:p>
          <a:r>
            <a:rPr lang="es-CO" sz="1100" dirty="0" smtClean="0"/>
            <a:t>ALIANZAS Y TRABJO EN RED</a:t>
          </a:r>
          <a:endParaRPr lang="es-CO" sz="1100" dirty="0"/>
        </a:p>
      </dgm:t>
    </dgm:pt>
    <dgm:pt modelId="{B4F4E81A-E280-48CD-9921-2079FA8EDB16}" type="parTrans" cxnId="{EB2D49E5-8448-46E6-B0F8-5F2AC897A972}">
      <dgm:prSet/>
      <dgm:spPr/>
      <dgm:t>
        <a:bodyPr/>
        <a:lstStyle/>
        <a:p>
          <a:endParaRPr lang="es-CO"/>
        </a:p>
      </dgm:t>
    </dgm:pt>
    <dgm:pt modelId="{4A4ACDF1-2A98-4FCC-8B52-00F2D5D610E6}" type="sibTrans" cxnId="{EB2D49E5-8448-46E6-B0F8-5F2AC897A972}">
      <dgm:prSet/>
      <dgm:spPr/>
      <dgm:t>
        <a:bodyPr/>
        <a:lstStyle/>
        <a:p>
          <a:endParaRPr lang="es-CO"/>
        </a:p>
      </dgm:t>
    </dgm:pt>
    <dgm:pt modelId="{29A2911F-50F0-4B5E-9985-6364EE934DBF}">
      <dgm:prSet custT="1"/>
      <dgm:spPr/>
      <dgm:t>
        <a:bodyPr/>
        <a:lstStyle/>
        <a:p>
          <a:r>
            <a:rPr lang="es-CO" sz="1100" dirty="0" smtClean="0"/>
            <a:t>PERTINENCIA E INNOVACIÓN</a:t>
          </a:r>
          <a:endParaRPr lang="es-CO" sz="1100" dirty="0"/>
        </a:p>
      </dgm:t>
    </dgm:pt>
    <dgm:pt modelId="{3401B1F7-B564-4908-91BA-A31849FB151E}" type="parTrans" cxnId="{6F827D0C-9BD0-49D9-86F3-25A602705454}">
      <dgm:prSet/>
      <dgm:spPr/>
      <dgm:t>
        <a:bodyPr/>
        <a:lstStyle/>
        <a:p>
          <a:endParaRPr lang="es-CO"/>
        </a:p>
      </dgm:t>
    </dgm:pt>
    <dgm:pt modelId="{F062E56D-B759-41A5-98F9-F1FE39183256}" type="sibTrans" cxnId="{6F827D0C-9BD0-49D9-86F3-25A602705454}">
      <dgm:prSet/>
      <dgm:spPr/>
      <dgm:t>
        <a:bodyPr/>
        <a:lstStyle/>
        <a:p>
          <a:endParaRPr lang="es-CO"/>
        </a:p>
      </dgm:t>
    </dgm:pt>
    <dgm:pt modelId="{1EAFD8D1-CFEC-4BA6-A690-BEAE06FEF3BC}">
      <dgm:prSet custT="1"/>
      <dgm:spPr/>
      <dgm:t>
        <a:bodyPr/>
        <a:lstStyle/>
        <a:p>
          <a:r>
            <a:rPr lang="es-CO" sz="1200" dirty="0" smtClean="0"/>
            <a:t>OFERTA POSICIONADA</a:t>
          </a:r>
          <a:endParaRPr lang="es-CO" sz="1200" dirty="0"/>
        </a:p>
      </dgm:t>
    </dgm:pt>
    <dgm:pt modelId="{BFB5C10D-AD76-4385-8ED2-1EB31D246C63}" type="parTrans" cxnId="{4A4020D8-F6D3-43C7-B2E4-D8C7E3127782}">
      <dgm:prSet/>
      <dgm:spPr/>
      <dgm:t>
        <a:bodyPr/>
        <a:lstStyle/>
        <a:p>
          <a:endParaRPr lang="es-CO"/>
        </a:p>
      </dgm:t>
    </dgm:pt>
    <dgm:pt modelId="{48412E2D-2EB4-4B47-9BE6-2DACC6CB5D13}" type="sibTrans" cxnId="{4A4020D8-F6D3-43C7-B2E4-D8C7E3127782}">
      <dgm:prSet/>
      <dgm:spPr/>
      <dgm:t>
        <a:bodyPr/>
        <a:lstStyle/>
        <a:p>
          <a:endParaRPr lang="es-CO"/>
        </a:p>
      </dgm:t>
    </dgm:pt>
    <dgm:pt modelId="{02B5ACE4-20B1-4524-B732-79B95AF7062F}">
      <dgm:prSet custT="1"/>
      <dgm:spPr/>
      <dgm:t>
        <a:bodyPr/>
        <a:lstStyle/>
        <a:p>
          <a:r>
            <a:rPr lang="es-CO" sz="1200" dirty="0" smtClean="0"/>
            <a:t>MARCO NORMATIVO </a:t>
          </a:r>
          <a:endParaRPr lang="es-CO" sz="1200" dirty="0"/>
        </a:p>
      </dgm:t>
    </dgm:pt>
    <dgm:pt modelId="{DEBB5BC9-F5C0-46BE-B086-BF93399A6998}" type="parTrans" cxnId="{9F637018-180D-4045-AEA0-FF4B2F7ACBFB}">
      <dgm:prSet/>
      <dgm:spPr/>
      <dgm:t>
        <a:bodyPr/>
        <a:lstStyle/>
        <a:p>
          <a:endParaRPr lang="es-CO"/>
        </a:p>
      </dgm:t>
    </dgm:pt>
    <dgm:pt modelId="{B158C237-3CCD-4EBD-A840-498CBC48E0CE}" type="sibTrans" cxnId="{9F637018-180D-4045-AEA0-FF4B2F7ACBFB}">
      <dgm:prSet/>
      <dgm:spPr/>
      <dgm:t>
        <a:bodyPr/>
        <a:lstStyle/>
        <a:p>
          <a:endParaRPr lang="es-CO"/>
        </a:p>
      </dgm:t>
    </dgm:pt>
    <dgm:pt modelId="{E2942563-8B4E-4B43-B091-C2707884C782}" type="pres">
      <dgm:prSet presAssocID="{3917FCDC-E054-4D0D-A491-ED4F082202F5}" presName="Name0" presStyleCnt="0">
        <dgm:presLayoutVars>
          <dgm:chMax val="3"/>
          <dgm:chPref val="1"/>
          <dgm:dir/>
          <dgm:animLvl val="lvl"/>
          <dgm:resizeHandles/>
        </dgm:presLayoutVars>
      </dgm:prSet>
      <dgm:spPr/>
      <dgm:t>
        <a:bodyPr/>
        <a:lstStyle/>
        <a:p>
          <a:endParaRPr lang="es-CO"/>
        </a:p>
      </dgm:t>
    </dgm:pt>
    <dgm:pt modelId="{543252F2-4CC4-4CB6-9237-30E35C715DBA}" type="pres">
      <dgm:prSet presAssocID="{3917FCDC-E054-4D0D-A491-ED4F082202F5}" presName="outerBox" presStyleCnt="0"/>
      <dgm:spPr/>
    </dgm:pt>
    <dgm:pt modelId="{B55BBA38-2254-4A59-9E04-DB39C12D15C4}" type="pres">
      <dgm:prSet presAssocID="{3917FCDC-E054-4D0D-A491-ED4F082202F5}" presName="outerBoxParent" presStyleLbl="node1" presStyleIdx="0" presStyleCnt="2"/>
      <dgm:spPr/>
      <dgm:t>
        <a:bodyPr/>
        <a:lstStyle/>
        <a:p>
          <a:endParaRPr lang="es-CO"/>
        </a:p>
      </dgm:t>
    </dgm:pt>
    <dgm:pt modelId="{92D74C4C-6641-4C73-AFD0-F9FDBAA31CB6}" type="pres">
      <dgm:prSet presAssocID="{3917FCDC-E054-4D0D-A491-ED4F082202F5}" presName="outerBoxChildren" presStyleCnt="0"/>
      <dgm:spPr/>
    </dgm:pt>
    <dgm:pt modelId="{6D2B9C93-B706-4F21-AEF6-0B821D696614}" type="pres">
      <dgm:prSet presAssocID="{18CC1DAF-4CEA-4607-A34D-F7292DC0DE62}" presName="oChild" presStyleLbl="fgAcc1" presStyleIdx="0" presStyleCnt="9" custScaleX="115033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B29B2E76-D31C-4CC6-AE65-FAAB2FAA565B}" type="pres">
      <dgm:prSet presAssocID="{0CA196D2-5783-4BC6-BCD5-BFF10C663211}" presName="outerSibTrans" presStyleCnt="0"/>
      <dgm:spPr/>
    </dgm:pt>
    <dgm:pt modelId="{49691B06-75CD-423F-9244-B90D7475B158}" type="pres">
      <dgm:prSet presAssocID="{C718C459-46D0-4E8B-A439-BF75E63FC8C7}" presName="oChild" presStyleLbl="fgAcc1" presStyleIdx="1" presStyleCnt="9" custScaleX="115033" custLinFactY="-4854" custLinFactNeighborY="-100000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F2962030-2D33-46BE-95C4-19C76EBA281B}" type="pres">
      <dgm:prSet presAssocID="{965BA854-3DC6-4F0B-A894-8172798C6035}" presName="outerSibTrans" presStyleCnt="0"/>
      <dgm:spPr/>
    </dgm:pt>
    <dgm:pt modelId="{7BD0240E-FE3D-4DDF-AF35-823A576EDD09}" type="pres">
      <dgm:prSet presAssocID="{1EAFD8D1-CFEC-4BA6-A690-BEAE06FEF3BC}" presName="oChild" presStyleLbl="fgAcc1" presStyleIdx="2" presStyleCnt="9" custScaleX="115033" custLinFactY="-4854" custLinFactNeighborY="-100000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96FEBAEB-6C42-41CA-8AEF-1B63C57A5601}" type="pres">
      <dgm:prSet presAssocID="{48412E2D-2EB4-4B47-9BE6-2DACC6CB5D13}" presName="outerSibTrans" presStyleCnt="0"/>
      <dgm:spPr/>
    </dgm:pt>
    <dgm:pt modelId="{89D0241D-CD7B-4831-8612-BCDD93D4DE15}" type="pres">
      <dgm:prSet presAssocID="{02B5ACE4-20B1-4524-B732-79B95AF7062F}" presName="oChild" presStyleLbl="fgAcc1" presStyleIdx="3" presStyleCnt="9" custScaleX="115033" custLinFactY="-6293" custLinFactNeighborX="0" custLinFactNeighborY="-100000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0AB0DB7D-0E8F-4119-94F4-85D6326E5DED}" type="pres">
      <dgm:prSet presAssocID="{3917FCDC-E054-4D0D-A491-ED4F082202F5}" presName="middleBox" presStyleCnt="0"/>
      <dgm:spPr/>
    </dgm:pt>
    <dgm:pt modelId="{1768406D-E7BE-47AE-9582-D9F65BF85898}" type="pres">
      <dgm:prSet presAssocID="{3917FCDC-E054-4D0D-A491-ED4F082202F5}" presName="middleBoxParent" presStyleLbl="node1" presStyleIdx="1" presStyleCnt="2" custScaleX="98482" custScaleY="87169"/>
      <dgm:spPr/>
      <dgm:t>
        <a:bodyPr/>
        <a:lstStyle/>
        <a:p>
          <a:endParaRPr lang="es-CO"/>
        </a:p>
      </dgm:t>
    </dgm:pt>
    <dgm:pt modelId="{50F27929-8C74-490F-A128-F80047B3D0DF}" type="pres">
      <dgm:prSet presAssocID="{3917FCDC-E054-4D0D-A491-ED4F082202F5}" presName="middleBoxChildren" presStyleCnt="0"/>
      <dgm:spPr/>
    </dgm:pt>
    <dgm:pt modelId="{5F1618FE-93FA-4360-9F26-DC8DD9CD7210}" type="pres">
      <dgm:prSet presAssocID="{FDAA2013-8BDD-495E-84FA-AC4D6AED34FF}" presName="mChild" presStyleLbl="fgAcc1" presStyleIdx="4" presStyleCnt="9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7F38A27C-45E4-4F8A-A118-845372FFECAA}" type="pres">
      <dgm:prSet presAssocID="{8BCD6BBF-713D-4A10-B705-B62E7E3754B9}" presName="middleSibTrans" presStyleCnt="0"/>
      <dgm:spPr/>
    </dgm:pt>
    <dgm:pt modelId="{4D5A258B-30CD-4733-9875-8FD88A308567}" type="pres">
      <dgm:prSet presAssocID="{2CDFFE16-ABA3-4D50-B055-0557E9D66CEC}" presName="mChild" presStyleLbl="fgAcc1" presStyleIdx="5" presStyleCnt="9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13AFA924-0BC9-49A6-86AA-C6CD63444530}" type="pres">
      <dgm:prSet presAssocID="{81B4134D-96E3-4EF9-94FF-1FCA9496824D}" presName="middleSibTrans" presStyleCnt="0"/>
      <dgm:spPr/>
    </dgm:pt>
    <dgm:pt modelId="{46440A11-D612-4E4A-9441-8C8BB3AE3E7A}" type="pres">
      <dgm:prSet presAssocID="{DA88D4E0-F983-4D96-BF41-140A21C5FB47}" presName="mChild" presStyleLbl="fgAcc1" presStyleIdx="6" presStyleCnt="9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6116F86E-463C-4FE0-8681-EE6E218803BA}" type="pres">
      <dgm:prSet presAssocID="{CF8C66D3-D0B7-4E3E-AC37-8D46BE53E127}" presName="middleSibTrans" presStyleCnt="0"/>
      <dgm:spPr/>
    </dgm:pt>
    <dgm:pt modelId="{38B402E7-FEC9-4991-B47D-2B083A3034F9}" type="pres">
      <dgm:prSet presAssocID="{0A21CA1E-A68F-4AF2-9FF7-5C8DD5D137D2}" presName="mChild" presStyleLbl="fgAcc1" presStyleIdx="7" presStyleCnt="9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D52B63F3-5317-4725-AB10-6663476FC809}" type="pres">
      <dgm:prSet presAssocID="{4A4ACDF1-2A98-4FCC-8B52-00F2D5D610E6}" presName="middleSibTrans" presStyleCnt="0"/>
      <dgm:spPr/>
    </dgm:pt>
    <dgm:pt modelId="{7B685EA6-707F-4298-B0BD-82CFADECF61D}" type="pres">
      <dgm:prSet presAssocID="{29A2911F-50F0-4B5E-9985-6364EE934DBF}" presName="mChild" presStyleLbl="fgAcc1" presStyleIdx="8" presStyleCnt="9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59893DAE-49CC-4BA4-B257-E0D379FC52A9}" type="presOf" srcId="{FDAA2013-8BDD-495E-84FA-AC4D6AED34FF}" destId="{5F1618FE-93FA-4360-9F26-DC8DD9CD7210}" srcOrd="0" destOrd="0" presId="urn:microsoft.com/office/officeart/2005/8/layout/target2"/>
    <dgm:cxn modelId="{6C5286FE-DB07-42C3-9830-83EF15B0135B}" type="presOf" srcId="{02B5ACE4-20B1-4524-B732-79B95AF7062F}" destId="{89D0241D-CD7B-4831-8612-BCDD93D4DE15}" srcOrd="0" destOrd="0" presId="urn:microsoft.com/office/officeart/2005/8/layout/target2"/>
    <dgm:cxn modelId="{4A4020D8-F6D3-43C7-B2E4-D8C7E3127782}" srcId="{4469965B-D5B0-477D-8E0C-0A92795F79C8}" destId="{1EAFD8D1-CFEC-4BA6-A690-BEAE06FEF3BC}" srcOrd="2" destOrd="0" parTransId="{BFB5C10D-AD76-4385-8ED2-1EB31D246C63}" sibTransId="{48412E2D-2EB4-4B47-9BE6-2DACC6CB5D13}"/>
    <dgm:cxn modelId="{096FA32C-DA99-403D-900C-95BC2FC80672}" type="presOf" srcId="{0A21CA1E-A68F-4AF2-9FF7-5C8DD5D137D2}" destId="{38B402E7-FEC9-4991-B47D-2B083A3034F9}" srcOrd="0" destOrd="0" presId="urn:microsoft.com/office/officeart/2005/8/layout/target2"/>
    <dgm:cxn modelId="{6F827D0C-9BD0-49D9-86F3-25A602705454}" srcId="{85C0B18E-FCBF-467D-838C-D930E3795688}" destId="{29A2911F-50F0-4B5E-9985-6364EE934DBF}" srcOrd="4" destOrd="0" parTransId="{3401B1F7-B564-4908-91BA-A31849FB151E}" sibTransId="{F062E56D-B759-41A5-98F9-F1FE39183256}"/>
    <dgm:cxn modelId="{D29E7CE6-B5C2-4CFB-8CB7-7A6F7E2D51A2}" srcId="{3917FCDC-E054-4D0D-A491-ED4F082202F5}" destId="{4469965B-D5B0-477D-8E0C-0A92795F79C8}" srcOrd="0" destOrd="0" parTransId="{72DCC20A-530C-4C3C-804F-0F4945B5CEA1}" sibTransId="{73DE955F-14D5-4696-8929-DCAEF1E0F5A4}"/>
    <dgm:cxn modelId="{11D740E4-41C2-4747-9F5E-B73072432919}" type="presOf" srcId="{C718C459-46D0-4E8B-A439-BF75E63FC8C7}" destId="{49691B06-75CD-423F-9244-B90D7475B158}" srcOrd="0" destOrd="0" presId="urn:microsoft.com/office/officeart/2005/8/layout/target2"/>
    <dgm:cxn modelId="{C8E3F290-D079-46DA-8F23-D968A323EADD}" srcId="{4469965B-D5B0-477D-8E0C-0A92795F79C8}" destId="{C718C459-46D0-4E8B-A439-BF75E63FC8C7}" srcOrd="1" destOrd="0" parTransId="{F14FC9B1-6D91-47B9-A1B6-6E93C0617080}" sibTransId="{965BA854-3DC6-4F0B-A894-8172798C6035}"/>
    <dgm:cxn modelId="{8347CD51-98AE-44E0-9B49-7756EFC99AFE}" srcId="{4469965B-D5B0-477D-8E0C-0A92795F79C8}" destId="{18CC1DAF-4CEA-4607-A34D-F7292DC0DE62}" srcOrd="0" destOrd="0" parTransId="{1029091E-AE6F-4EAA-8CE2-860C2D9F7516}" sibTransId="{0CA196D2-5783-4BC6-BCD5-BFF10C663211}"/>
    <dgm:cxn modelId="{6CAAFF3A-F7AB-4756-8E9E-DBEE642DEA0C}" type="presOf" srcId="{4469965B-D5B0-477D-8E0C-0A92795F79C8}" destId="{B55BBA38-2254-4A59-9E04-DB39C12D15C4}" srcOrd="0" destOrd="0" presId="urn:microsoft.com/office/officeart/2005/8/layout/target2"/>
    <dgm:cxn modelId="{9F637018-180D-4045-AEA0-FF4B2F7ACBFB}" srcId="{4469965B-D5B0-477D-8E0C-0A92795F79C8}" destId="{02B5ACE4-20B1-4524-B732-79B95AF7062F}" srcOrd="3" destOrd="0" parTransId="{DEBB5BC9-F5C0-46BE-B086-BF93399A6998}" sibTransId="{B158C237-3CCD-4EBD-A840-498CBC48E0CE}"/>
    <dgm:cxn modelId="{91CAEE04-0672-493A-B378-1335490820B3}" srcId="{3917FCDC-E054-4D0D-A491-ED4F082202F5}" destId="{85C0B18E-FCBF-467D-838C-D930E3795688}" srcOrd="1" destOrd="0" parTransId="{37BEEA1E-6EFB-4669-9DF8-DE7943D1F10D}" sibTransId="{2196842E-81D5-43F0-B57E-15F02B4F9406}"/>
    <dgm:cxn modelId="{28CA10D7-5472-4057-BECA-5E6D7DB84ECF}" type="presOf" srcId="{85C0B18E-FCBF-467D-838C-D930E3795688}" destId="{1768406D-E7BE-47AE-9582-D9F65BF85898}" srcOrd="0" destOrd="0" presId="urn:microsoft.com/office/officeart/2005/8/layout/target2"/>
    <dgm:cxn modelId="{40103B7D-CC69-4566-B208-72C507F703AF}" type="presOf" srcId="{2CDFFE16-ABA3-4D50-B055-0557E9D66CEC}" destId="{4D5A258B-30CD-4733-9875-8FD88A308567}" srcOrd="0" destOrd="0" presId="urn:microsoft.com/office/officeart/2005/8/layout/target2"/>
    <dgm:cxn modelId="{33964C82-C642-4767-9338-3EC2F42A3DC3}" type="presOf" srcId="{3917FCDC-E054-4D0D-A491-ED4F082202F5}" destId="{E2942563-8B4E-4B43-B091-C2707884C782}" srcOrd="0" destOrd="0" presId="urn:microsoft.com/office/officeart/2005/8/layout/target2"/>
    <dgm:cxn modelId="{A993BA44-E81B-4F86-A366-74C7AF642B87}" type="presOf" srcId="{18CC1DAF-4CEA-4607-A34D-F7292DC0DE62}" destId="{6D2B9C93-B706-4F21-AEF6-0B821D696614}" srcOrd="0" destOrd="0" presId="urn:microsoft.com/office/officeart/2005/8/layout/target2"/>
    <dgm:cxn modelId="{AF629579-F074-4F53-A0D2-E4B68CE7AB90}" srcId="{85C0B18E-FCBF-467D-838C-D930E3795688}" destId="{DA88D4E0-F983-4D96-BF41-140A21C5FB47}" srcOrd="2" destOrd="0" parTransId="{8EF38D42-FB1E-4A6C-9FE2-3EF0894D865B}" sibTransId="{CF8C66D3-D0B7-4E3E-AC37-8D46BE53E127}"/>
    <dgm:cxn modelId="{37C9ACF6-2DC1-445D-93E8-422D8EF15098}" srcId="{85C0B18E-FCBF-467D-838C-D930E3795688}" destId="{FDAA2013-8BDD-495E-84FA-AC4D6AED34FF}" srcOrd="0" destOrd="0" parTransId="{346E4FF1-532D-43B7-BC66-39134E944B09}" sibTransId="{8BCD6BBF-713D-4A10-B705-B62E7E3754B9}"/>
    <dgm:cxn modelId="{C65D0C9A-CE54-4E26-B365-112957E08B65}" srcId="{85C0B18E-FCBF-467D-838C-D930E3795688}" destId="{2CDFFE16-ABA3-4D50-B055-0557E9D66CEC}" srcOrd="1" destOrd="0" parTransId="{399D1184-7EA0-4974-93F7-56BC86A81724}" sibTransId="{81B4134D-96E3-4EF9-94FF-1FCA9496824D}"/>
    <dgm:cxn modelId="{61871302-2A77-4AB4-AA3F-3ED62D03D79C}" type="presOf" srcId="{29A2911F-50F0-4B5E-9985-6364EE934DBF}" destId="{7B685EA6-707F-4298-B0BD-82CFADECF61D}" srcOrd="0" destOrd="0" presId="urn:microsoft.com/office/officeart/2005/8/layout/target2"/>
    <dgm:cxn modelId="{26F89268-2430-408B-85F3-CAF6D3BB3233}" type="presOf" srcId="{1EAFD8D1-CFEC-4BA6-A690-BEAE06FEF3BC}" destId="{7BD0240E-FE3D-4DDF-AF35-823A576EDD09}" srcOrd="0" destOrd="0" presId="urn:microsoft.com/office/officeart/2005/8/layout/target2"/>
    <dgm:cxn modelId="{EB2D49E5-8448-46E6-B0F8-5F2AC897A972}" srcId="{85C0B18E-FCBF-467D-838C-D930E3795688}" destId="{0A21CA1E-A68F-4AF2-9FF7-5C8DD5D137D2}" srcOrd="3" destOrd="0" parTransId="{B4F4E81A-E280-48CD-9921-2079FA8EDB16}" sibTransId="{4A4ACDF1-2A98-4FCC-8B52-00F2D5D610E6}"/>
    <dgm:cxn modelId="{F12745A0-F635-4C8E-AC18-E23B95A7005B}" type="presOf" srcId="{DA88D4E0-F983-4D96-BF41-140A21C5FB47}" destId="{46440A11-D612-4E4A-9441-8C8BB3AE3E7A}" srcOrd="0" destOrd="0" presId="urn:microsoft.com/office/officeart/2005/8/layout/target2"/>
    <dgm:cxn modelId="{1D41C5DE-F521-44CA-BE7C-94F394289D9D}" type="presParOf" srcId="{E2942563-8B4E-4B43-B091-C2707884C782}" destId="{543252F2-4CC4-4CB6-9237-30E35C715DBA}" srcOrd="0" destOrd="0" presId="urn:microsoft.com/office/officeart/2005/8/layout/target2"/>
    <dgm:cxn modelId="{F472D3E1-C0C3-4FE5-AD20-36BF3DA18FD4}" type="presParOf" srcId="{543252F2-4CC4-4CB6-9237-30E35C715DBA}" destId="{B55BBA38-2254-4A59-9E04-DB39C12D15C4}" srcOrd="0" destOrd="0" presId="urn:microsoft.com/office/officeart/2005/8/layout/target2"/>
    <dgm:cxn modelId="{AFECD89B-A342-4036-83A7-991A99ADAE29}" type="presParOf" srcId="{543252F2-4CC4-4CB6-9237-30E35C715DBA}" destId="{92D74C4C-6641-4C73-AFD0-F9FDBAA31CB6}" srcOrd="1" destOrd="0" presId="urn:microsoft.com/office/officeart/2005/8/layout/target2"/>
    <dgm:cxn modelId="{E452FE68-567B-4F6C-8F88-0E690594CB05}" type="presParOf" srcId="{92D74C4C-6641-4C73-AFD0-F9FDBAA31CB6}" destId="{6D2B9C93-B706-4F21-AEF6-0B821D696614}" srcOrd="0" destOrd="0" presId="urn:microsoft.com/office/officeart/2005/8/layout/target2"/>
    <dgm:cxn modelId="{563C7F56-6EF7-4B53-AC98-CCF1A9B61C86}" type="presParOf" srcId="{92D74C4C-6641-4C73-AFD0-F9FDBAA31CB6}" destId="{B29B2E76-D31C-4CC6-AE65-FAAB2FAA565B}" srcOrd="1" destOrd="0" presId="urn:microsoft.com/office/officeart/2005/8/layout/target2"/>
    <dgm:cxn modelId="{48B87B2C-42E2-4CC5-B376-A6D23114ACA6}" type="presParOf" srcId="{92D74C4C-6641-4C73-AFD0-F9FDBAA31CB6}" destId="{49691B06-75CD-423F-9244-B90D7475B158}" srcOrd="2" destOrd="0" presId="urn:microsoft.com/office/officeart/2005/8/layout/target2"/>
    <dgm:cxn modelId="{BDEC1EA0-AC66-4F02-B4C6-524B9DC25407}" type="presParOf" srcId="{92D74C4C-6641-4C73-AFD0-F9FDBAA31CB6}" destId="{F2962030-2D33-46BE-95C4-19C76EBA281B}" srcOrd="3" destOrd="0" presId="urn:microsoft.com/office/officeart/2005/8/layout/target2"/>
    <dgm:cxn modelId="{2AB00820-AB31-4535-BE86-7AD6C247D7AB}" type="presParOf" srcId="{92D74C4C-6641-4C73-AFD0-F9FDBAA31CB6}" destId="{7BD0240E-FE3D-4DDF-AF35-823A576EDD09}" srcOrd="4" destOrd="0" presId="urn:microsoft.com/office/officeart/2005/8/layout/target2"/>
    <dgm:cxn modelId="{8685FE06-67AB-49ED-B2EF-243F26DCFC93}" type="presParOf" srcId="{92D74C4C-6641-4C73-AFD0-F9FDBAA31CB6}" destId="{96FEBAEB-6C42-41CA-8AEF-1B63C57A5601}" srcOrd="5" destOrd="0" presId="urn:microsoft.com/office/officeart/2005/8/layout/target2"/>
    <dgm:cxn modelId="{0C842272-23AF-46A2-BA65-085CE9135089}" type="presParOf" srcId="{92D74C4C-6641-4C73-AFD0-F9FDBAA31CB6}" destId="{89D0241D-CD7B-4831-8612-BCDD93D4DE15}" srcOrd="6" destOrd="0" presId="urn:microsoft.com/office/officeart/2005/8/layout/target2"/>
    <dgm:cxn modelId="{4582C6B3-EB0E-4B8F-9EC3-6504B9ED4C48}" type="presParOf" srcId="{E2942563-8B4E-4B43-B091-C2707884C782}" destId="{0AB0DB7D-0E8F-4119-94F4-85D6326E5DED}" srcOrd="1" destOrd="0" presId="urn:microsoft.com/office/officeart/2005/8/layout/target2"/>
    <dgm:cxn modelId="{A49E565C-DA67-496A-BE04-4CD72DFD98AE}" type="presParOf" srcId="{0AB0DB7D-0E8F-4119-94F4-85D6326E5DED}" destId="{1768406D-E7BE-47AE-9582-D9F65BF85898}" srcOrd="0" destOrd="0" presId="urn:microsoft.com/office/officeart/2005/8/layout/target2"/>
    <dgm:cxn modelId="{7CC0B340-37E4-4871-BECC-D1E0BC4E2A14}" type="presParOf" srcId="{0AB0DB7D-0E8F-4119-94F4-85D6326E5DED}" destId="{50F27929-8C74-490F-A128-F80047B3D0DF}" srcOrd="1" destOrd="0" presId="urn:microsoft.com/office/officeart/2005/8/layout/target2"/>
    <dgm:cxn modelId="{BD0744B8-0EF6-459D-B549-433FC7B8ADA8}" type="presParOf" srcId="{50F27929-8C74-490F-A128-F80047B3D0DF}" destId="{5F1618FE-93FA-4360-9F26-DC8DD9CD7210}" srcOrd="0" destOrd="0" presId="urn:microsoft.com/office/officeart/2005/8/layout/target2"/>
    <dgm:cxn modelId="{126615BA-8730-403A-A646-0AF6D228B388}" type="presParOf" srcId="{50F27929-8C74-490F-A128-F80047B3D0DF}" destId="{7F38A27C-45E4-4F8A-A118-845372FFECAA}" srcOrd="1" destOrd="0" presId="urn:microsoft.com/office/officeart/2005/8/layout/target2"/>
    <dgm:cxn modelId="{3CF84336-A5BA-4EF1-9481-068C7EFF293E}" type="presParOf" srcId="{50F27929-8C74-490F-A128-F80047B3D0DF}" destId="{4D5A258B-30CD-4733-9875-8FD88A308567}" srcOrd="2" destOrd="0" presId="urn:microsoft.com/office/officeart/2005/8/layout/target2"/>
    <dgm:cxn modelId="{2EC8F18E-61B8-4AD8-83D8-84FB65AC67B3}" type="presParOf" srcId="{50F27929-8C74-490F-A128-F80047B3D0DF}" destId="{13AFA924-0BC9-49A6-86AA-C6CD63444530}" srcOrd="3" destOrd="0" presId="urn:microsoft.com/office/officeart/2005/8/layout/target2"/>
    <dgm:cxn modelId="{4EB4BD25-D051-4A0D-A218-EDAC1A79162C}" type="presParOf" srcId="{50F27929-8C74-490F-A128-F80047B3D0DF}" destId="{46440A11-D612-4E4A-9441-8C8BB3AE3E7A}" srcOrd="4" destOrd="0" presId="urn:microsoft.com/office/officeart/2005/8/layout/target2"/>
    <dgm:cxn modelId="{6FE8C7F3-7A35-4779-9B92-F9FFB6B2A1F9}" type="presParOf" srcId="{50F27929-8C74-490F-A128-F80047B3D0DF}" destId="{6116F86E-463C-4FE0-8681-EE6E218803BA}" srcOrd="5" destOrd="0" presId="urn:microsoft.com/office/officeart/2005/8/layout/target2"/>
    <dgm:cxn modelId="{BEF4C803-DC4B-4847-AFAB-199D2073164E}" type="presParOf" srcId="{50F27929-8C74-490F-A128-F80047B3D0DF}" destId="{38B402E7-FEC9-4991-B47D-2B083A3034F9}" srcOrd="6" destOrd="0" presId="urn:microsoft.com/office/officeart/2005/8/layout/target2"/>
    <dgm:cxn modelId="{655FE512-F0B9-4D5E-B0CE-3D445B495650}" type="presParOf" srcId="{50F27929-8C74-490F-A128-F80047B3D0DF}" destId="{D52B63F3-5317-4725-AB10-6663476FC809}" srcOrd="7" destOrd="0" presId="urn:microsoft.com/office/officeart/2005/8/layout/target2"/>
    <dgm:cxn modelId="{3383BDD5-2186-4582-87C1-44717B679989}" type="presParOf" srcId="{50F27929-8C74-490F-A128-F80047B3D0DF}" destId="{7B685EA6-707F-4298-B0BD-82CFADECF61D}" srcOrd="8" destOrd="0" presId="urn:microsoft.com/office/officeart/2005/8/layout/target2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2EA9D4A4-4641-4794-8417-093ED410B5A9}" type="doc">
      <dgm:prSet loTypeId="urn:microsoft.com/office/officeart/2005/8/layout/pyramid2" loCatId="pyramid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s-CO"/>
        </a:p>
      </dgm:t>
    </dgm:pt>
    <dgm:pt modelId="{7A92AB07-2E20-4630-A513-E0D48F305F91}">
      <dgm:prSet/>
      <dgm:spPr>
        <a:solidFill>
          <a:schemeClr val="accent6">
            <a:lumMod val="40000"/>
            <a:lumOff val="60000"/>
            <a:alpha val="90000"/>
          </a:schemeClr>
        </a:solidFill>
      </dgm:spPr>
      <dgm:t>
        <a:bodyPr/>
        <a:lstStyle/>
        <a:p>
          <a:pPr rtl="0"/>
          <a:r>
            <a:rPr lang="es-ES" b="1" i="1" dirty="0" smtClean="0">
              <a:solidFill>
                <a:srgbClr val="002060"/>
              </a:solidFill>
            </a:rPr>
            <a:t>Aplicación con la normatividad vigente</a:t>
          </a:r>
          <a:endParaRPr lang="es-CO" dirty="0">
            <a:solidFill>
              <a:srgbClr val="002060"/>
            </a:solidFill>
          </a:endParaRPr>
        </a:p>
      </dgm:t>
    </dgm:pt>
    <dgm:pt modelId="{B6D9ED19-30D0-4028-A4AD-ABD8F248E348}" type="parTrans" cxnId="{2E2F4D81-2151-4177-8E33-D0A091C090CB}">
      <dgm:prSet/>
      <dgm:spPr/>
      <dgm:t>
        <a:bodyPr/>
        <a:lstStyle/>
        <a:p>
          <a:endParaRPr lang="es-CO"/>
        </a:p>
      </dgm:t>
    </dgm:pt>
    <dgm:pt modelId="{743DE224-3D3F-4449-8CBF-C5693D97F616}" type="sibTrans" cxnId="{2E2F4D81-2151-4177-8E33-D0A091C090CB}">
      <dgm:prSet/>
      <dgm:spPr/>
      <dgm:t>
        <a:bodyPr/>
        <a:lstStyle/>
        <a:p>
          <a:endParaRPr lang="es-CO"/>
        </a:p>
      </dgm:t>
    </dgm:pt>
    <dgm:pt modelId="{5424BF0A-6179-4719-B3D1-AB370E876286}">
      <dgm:prSet/>
      <dgm:spPr/>
      <dgm:t>
        <a:bodyPr/>
        <a:lstStyle/>
        <a:p>
          <a:pPr rtl="0"/>
          <a:r>
            <a:rPr lang="es-CO" b="1" dirty="0" smtClean="0"/>
            <a:t>Control del Sistema desde AC hasta I&amp;V</a:t>
          </a:r>
          <a:endParaRPr lang="es-CO" b="1" dirty="0"/>
        </a:p>
      </dgm:t>
    </dgm:pt>
    <dgm:pt modelId="{37673115-0E65-43F2-8F49-5B14C11AA525}" type="parTrans" cxnId="{83874BD5-1922-42A0-A23A-F3DB0100175A}">
      <dgm:prSet/>
      <dgm:spPr/>
      <dgm:t>
        <a:bodyPr/>
        <a:lstStyle/>
        <a:p>
          <a:endParaRPr lang="es-CO"/>
        </a:p>
      </dgm:t>
    </dgm:pt>
    <dgm:pt modelId="{76C0F392-2FDA-4438-8D17-42536A9EABD7}" type="sibTrans" cxnId="{83874BD5-1922-42A0-A23A-F3DB0100175A}">
      <dgm:prSet/>
      <dgm:spPr/>
      <dgm:t>
        <a:bodyPr/>
        <a:lstStyle/>
        <a:p>
          <a:endParaRPr lang="es-CO"/>
        </a:p>
      </dgm:t>
    </dgm:pt>
    <dgm:pt modelId="{8D202115-0387-4DEC-BA7C-D3B74470D0EC}">
      <dgm:prSet/>
      <dgm:spPr>
        <a:solidFill>
          <a:schemeClr val="accent6">
            <a:lumMod val="40000"/>
            <a:lumOff val="60000"/>
            <a:alpha val="90000"/>
          </a:schemeClr>
        </a:solidFill>
      </dgm:spPr>
      <dgm:t>
        <a:bodyPr/>
        <a:lstStyle/>
        <a:p>
          <a:pPr rtl="0"/>
          <a:r>
            <a:rPr lang="es-CO" b="1" i="1" dirty="0" smtClean="0">
              <a:solidFill>
                <a:srgbClr val="002060"/>
              </a:solidFill>
            </a:rPr>
            <a:t>SIET como base</a:t>
          </a:r>
          <a:endParaRPr lang="es-CO" b="1" i="1" dirty="0">
            <a:solidFill>
              <a:srgbClr val="002060"/>
            </a:solidFill>
          </a:endParaRPr>
        </a:p>
      </dgm:t>
    </dgm:pt>
    <dgm:pt modelId="{6CBBA6FD-78EF-4093-BECC-082EA4CEEAF3}" type="parTrans" cxnId="{2D172575-215D-4F8D-9CB4-7E635C2D5B90}">
      <dgm:prSet/>
      <dgm:spPr/>
      <dgm:t>
        <a:bodyPr/>
        <a:lstStyle/>
        <a:p>
          <a:endParaRPr lang="es-CO"/>
        </a:p>
      </dgm:t>
    </dgm:pt>
    <dgm:pt modelId="{BFB8AD54-A5D3-43CF-A81C-79085D456F1E}" type="sibTrans" cxnId="{2D172575-215D-4F8D-9CB4-7E635C2D5B90}">
      <dgm:prSet/>
      <dgm:spPr/>
      <dgm:t>
        <a:bodyPr/>
        <a:lstStyle/>
        <a:p>
          <a:endParaRPr lang="es-CO"/>
        </a:p>
      </dgm:t>
    </dgm:pt>
    <dgm:pt modelId="{6ECC8CE1-D05A-455D-9045-C622E54C1D41}">
      <dgm:prSet/>
      <dgm:spPr/>
      <dgm:t>
        <a:bodyPr/>
        <a:lstStyle/>
        <a:p>
          <a:pPr rtl="0"/>
          <a:r>
            <a:rPr lang="es-CO" b="1" dirty="0" smtClean="0"/>
            <a:t>Apoyo a las SEC en los elementos propios de la ET</a:t>
          </a:r>
          <a:endParaRPr lang="es-CO" b="1" dirty="0"/>
        </a:p>
      </dgm:t>
    </dgm:pt>
    <dgm:pt modelId="{695655F8-3D66-4DDD-8E8B-E24093308A45}" type="sibTrans" cxnId="{46ED4315-180A-48AC-86E4-C95A8845FAAF}">
      <dgm:prSet/>
      <dgm:spPr/>
      <dgm:t>
        <a:bodyPr/>
        <a:lstStyle/>
        <a:p>
          <a:endParaRPr lang="es-CO"/>
        </a:p>
      </dgm:t>
    </dgm:pt>
    <dgm:pt modelId="{ACE9DE40-D26F-432C-A662-492A777225F4}" type="parTrans" cxnId="{46ED4315-180A-48AC-86E4-C95A8845FAAF}">
      <dgm:prSet/>
      <dgm:spPr/>
      <dgm:t>
        <a:bodyPr/>
        <a:lstStyle/>
        <a:p>
          <a:endParaRPr lang="es-CO"/>
        </a:p>
      </dgm:t>
    </dgm:pt>
    <dgm:pt modelId="{46EA11FB-FA93-4013-AB07-D98866536959}" type="pres">
      <dgm:prSet presAssocID="{2EA9D4A4-4641-4794-8417-093ED410B5A9}" presName="compositeShape" presStyleCnt="0">
        <dgm:presLayoutVars>
          <dgm:dir/>
          <dgm:resizeHandles/>
        </dgm:presLayoutVars>
      </dgm:prSet>
      <dgm:spPr/>
      <dgm:t>
        <a:bodyPr/>
        <a:lstStyle/>
        <a:p>
          <a:endParaRPr lang="es-CO"/>
        </a:p>
      </dgm:t>
    </dgm:pt>
    <dgm:pt modelId="{1EE00DCD-FA0D-4AFA-92CC-F02F551A0210}" type="pres">
      <dgm:prSet presAssocID="{2EA9D4A4-4641-4794-8417-093ED410B5A9}" presName="pyramid" presStyleLbl="node1" presStyleIdx="0" presStyleCnt="1"/>
      <dgm:spPr/>
    </dgm:pt>
    <dgm:pt modelId="{41D9B30D-7725-4B6A-B7A5-53CFF125A4FE}" type="pres">
      <dgm:prSet presAssocID="{2EA9D4A4-4641-4794-8417-093ED410B5A9}" presName="theList" presStyleCnt="0"/>
      <dgm:spPr/>
    </dgm:pt>
    <dgm:pt modelId="{66D2E3C9-D2EF-470D-9316-1AB6A028E7DF}" type="pres">
      <dgm:prSet presAssocID="{5424BF0A-6179-4719-B3D1-AB370E876286}" presName="aNode" presStyleLbl="fgAcc1" presStyleIdx="0" presStyleCnt="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1FC3F5F0-78DD-4CDF-9758-B7C543702D4A}" type="pres">
      <dgm:prSet presAssocID="{5424BF0A-6179-4719-B3D1-AB370E876286}" presName="aSpace" presStyleCnt="0"/>
      <dgm:spPr/>
    </dgm:pt>
    <dgm:pt modelId="{A94D3B48-E328-4FA4-99D8-5E70A7DCC19F}" type="pres">
      <dgm:prSet presAssocID="{6ECC8CE1-D05A-455D-9045-C622E54C1D41}" presName="aNode" presStyleLbl="fgAcc1" presStyleIdx="1" presStyleCnt="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7EEC7319-6B90-4A26-9110-4B932A23C9AB}" type="pres">
      <dgm:prSet presAssocID="{6ECC8CE1-D05A-455D-9045-C622E54C1D41}" presName="aSpace" presStyleCnt="0"/>
      <dgm:spPr/>
    </dgm:pt>
    <dgm:pt modelId="{029ADA3D-FDC5-4769-9624-D6AB8B3CE1BB}" type="pres">
      <dgm:prSet presAssocID="{7A92AB07-2E20-4630-A513-E0D48F305F91}" presName="aNode" presStyleLbl="fgAcc1" presStyleIdx="2" presStyleCnt="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EC7172DF-CDE2-4A91-9867-FB477104356B}" type="pres">
      <dgm:prSet presAssocID="{7A92AB07-2E20-4630-A513-E0D48F305F91}" presName="aSpace" presStyleCnt="0"/>
      <dgm:spPr/>
    </dgm:pt>
    <dgm:pt modelId="{A472A3D6-8B49-45C7-854A-4A04DF87CE06}" type="pres">
      <dgm:prSet presAssocID="{8D202115-0387-4DEC-BA7C-D3B74470D0EC}" presName="aNode" presStyleLbl="fgAcc1" presStyleIdx="3" presStyleCnt="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5F626783-F3F3-49D3-B1A9-D201338F968D}" type="pres">
      <dgm:prSet presAssocID="{8D202115-0387-4DEC-BA7C-D3B74470D0EC}" presName="aSpace" presStyleCnt="0"/>
      <dgm:spPr/>
    </dgm:pt>
  </dgm:ptLst>
  <dgm:cxnLst>
    <dgm:cxn modelId="{2E2F4D81-2151-4177-8E33-D0A091C090CB}" srcId="{2EA9D4A4-4641-4794-8417-093ED410B5A9}" destId="{7A92AB07-2E20-4630-A513-E0D48F305F91}" srcOrd="2" destOrd="0" parTransId="{B6D9ED19-30D0-4028-A4AD-ABD8F248E348}" sibTransId="{743DE224-3D3F-4449-8CBF-C5693D97F616}"/>
    <dgm:cxn modelId="{1CCE2C16-C751-4113-946D-54EFC61ED57A}" type="presOf" srcId="{7A92AB07-2E20-4630-A513-E0D48F305F91}" destId="{029ADA3D-FDC5-4769-9624-D6AB8B3CE1BB}" srcOrd="0" destOrd="0" presId="urn:microsoft.com/office/officeart/2005/8/layout/pyramid2"/>
    <dgm:cxn modelId="{22599309-6777-42C0-AD4F-BF2861F3CB06}" type="presOf" srcId="{6ECC8CE1-D05A-455D-9045-C622E54C1D41}" destId="{A94D3B48-E328-4FA4-99D8-5E70A7DCC19F}" srcOrd="0" destOrd="0" presId="urn:microsoft.com/office/officeart/2005/8/layout/pyramid2"/>
    <dgm:cxn modelId="{9F72CD20-6CDA-43A2-9B36-598C4E94AD4A}" type="presOf" srcId="{8D202115-0387-4DEC-BA7C-D3B74470D0EC}" destId="{A472A3D6-8B49-45C7-854A-4A04DF87CE06}" srcOrd="0" destOrd="0" presId="urn:microsoft.com/office/officeart/2005/8/layout/pyramid2"/>
    <dgm:cxn modelId="{46ED4315-180A-48AC-86E4-C95A8845FAAF}" srcId="{2EA9D4A4-4641-4794-8417-093ED410B5A9}" destId="{6ECC8CE1-D05A-455D-9045-C622E54C1D41}" srcOrd="1" destOrd="0" parTransId="{ACE9DE40-D26F-432C-A662-492A777225F4}" sibTransId="{695655F8-3D66-4DDD-8E8B-E24093308A45}"/>
    <dgm:cxn modelId="{83874BD5-1922-42A0-A23A-F3DB0100175A}" srcId="{2EA9D4A4-4641-4794-8417-093ED410B5A9}" destId="{5424BF0A-6179-4719-B3D1-AB370E876286}" srcOrd="0" destOrd="0" parTransId="{37673115-0E65-43F2-8F49-5B14C11AA525}" sibTransId="{76C0F392-2FDA-4438-8D17-42536A9EABD7}"/>
    <dgm:cxn modelId="{4CFD2F20-8F14-4A9F-9CD0-80CC2E38F652}" type="presOf" srcId="{2EA9D4A4-4641-4794-8417-093ED410B5A9}" destId="{46EA11FB-FA93-4013-AB07-D98866536959}" srcOrd="0" destOrd="0" presId="urn:microsoft.com/office/officeart/2005/8/layout/pyramid2"/>
    <dgm:cxn modelId="{2D172575-215D-4F8D-9CB4-7E635C2D5B90}" srcId="{2EA9D4A4-4641-4794-8417-093ED410B5A9}" destId="{8D202115-0387-4DEC-BA7C-D3B74470D0EC}" srcOrd="3" destOrd="0" parTransId="{6CBBA6FD-78EF-4093-BECC-082EA4CEEAF3}" sibTransId="{BFB8AD54-A5D3-43CF-A81C-79085D456F1E}"/>
    <dgm:cxn modelId="{36783AFD-75C3-48C3-B292-6C38F7A83D41}" type="presOf" srcId="{5424BF0A-6179-4719-B3D1-AB370E876286}" destId="{66D2E3C9-D2EF-470D-9316-1AB6A028E7DF}" srcOrd="0" destOrd="0" presId="urn:microsoft.com/office/officeart/2005/8/layout/pyramid2"/>
    <dgm:cxn modelId="{5C14F4DE-522A-4D72-85E7-E46CFE573F1B}" type="presParOf" srcId="{46EA11FB-FA93-4013-AB07-D98866536959}" destId="{1EE00DCD-FA0D-4AFA-92CC-F02F551A0210}" srcOrd="0" destOrd="0" presId="urn:microsoft.com/office/officeart/2005/8/layout/pyramid2"/>
    <dgm:cxn modelId="{CD9345E8-BA14-4D11-96C1-9EE7EC8610F1}" type="presParOf" srcId="{46EA11FB-FA93-4013-AB07-D98866536959}" destId="{41D9B30D-7725-4B6A-B7A5-53CFF125A4FE}" srcOrd="1" destOrd="0" presId="urn:microsoft.com/office/officeart/2005/8/layout/pyramid2"/>
    <dgm:cxn modelId="{3B29FDFC-BCDA-4BC5-9D88-D524BC106029}" type="presParOf" srcId="{41D9B30D-7725-4B6A-B7A5-53CFF125A4FE}" destId="{66D2E3C9-D2EF-470D-9316-1AB6A028E7DF}" srcOrd="0" destOrd="0" presId="urn:microsoft.com/office/officeart/2005/8/layout/pyramid2"/>
    <dgm:cxn modelId="{7801078E-33FA-437E-BD44-87C28E48A943}" type="presParOf" srcId="{41D9B30D-7725-4B6A-B7A5-53CFF125A4FE}" destId="{1FC3F5F0-78DD-4CDF-9758-B7C543702D4A}" srcOrd="1" destOrd="0" presId="urn:microsoft.com/office/officeart/2005/8/layout/pyramid2"/>
    <dgm:cxn modelId="{A0F7731C-36C9-4548-BA2A-74635ACD6936}" type="presParOf" srcId="{41D9B30D-7725-4B6A-B7A5-53CFF125A4FE}" destId="{A94D3B48-E328-4FA4-99D8-5E70A7DCC19F}" srcOrd="2" destOrd="0" presId="urn:microsoft.com/office/officeart/2005/8/layout/pyramid2"/>
    <dgm:cxn modelId="{CA80C72A-48D6-4A32-A3AD-120D19347D8A}" type="presParOf" srcId="{41D9B30D-7725-4B6A-B7A5-53CFF125A4FE}" destId="{7EEC7319-6B90-4A26-9110-4B932A23C9AB}" srcOrd="3" destOrd="0" presId="urn:microsoft.com/office/officeart/2005/8/layout/pyramid2"/>
    <dgm:cxn modelId="{C156FF63-677E-4442-AE22-5AF46F7E7873}" type="presParOf" srcId="{41D9B30D-7725-4B6A-B7A5-53CFF125A4FE}" destId="{029ADA3D-FDC5-4769-9624-D6AB8B3CE1BB}" srcOrd="4" destOrd="0" presId="urn:microsoft.com/office/officeart/2005/8/layout/pyramid2"/>
    <dgm:cxn modelId="{3250CA68-E966-4E30-8F19-5ED68534DCBB}" type="presParOf" srcId="{41D9B30D-7725-4B6A-B7A5-53CFF125A4FE}" destId="{EC7172DF-CDE2-4A91-9867-FB477104356B}" srcOrd="5" destOrd="0" presId="urn:microsoft.com/office/officeart/2005/8/layout/pyramid2"/>
    <dgm:cxn modelId="{D4BB326A-F9B3-4EE4-9646-716B52C1C8C7}" type="presParOf" srcId="{41D9B30D-7725-4B6A-B7A5-53CFF125A4FE}" destId="{A472A3D6-8B49-45C7-854A-4A04DF87CE06}" srcOrd="6" destOrd="0" presId="urn:microsoft.com/office/officeart/2005/8/layout/pyramid2"/>
    <dgm:cxn modelId="{ACB8B42C-2E7A-4C69-A02C-998AC9A427FE}" type="presParOf" srcId="{41D9B30D-7725-4B6A-B7A5-53CFF125A4FE}" destId="{5F626783-F3F3-49D3-B1A9-D201338F968D}" srcOrd="7" destOrd="0" presId="urn:microsoft.com/office/officeart/2005/8/layout/pyramid2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14.xml><?xml version="1.0" encoding="utf-8"?>
<dgm:dataModel xmlns:dgm="http://schemas.openxmlformats.org/drawingml/2006/diagram" xmlns:a="http://schemas.openxmlformats.org/drawingml/2006/main">
  <dgm:ptLst>
    <dgm:pt modelId="{7E939570-1146-4895-BAC3-BC5BB9DE7FD9}" type="doc">
      <dgm:prSet loTypeId="urn:microsoft.com/office/officeart/2005/8/layout/venn2" loCatId="relationship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s-CO"/>
        </a:p>
      </dgm:t>
    </dgm:pt>
    <dgm:pt modelId="{3B16A65C-A293-45E5-AE9A-B3F13A941C11}">
      <dgm:prSet phldrT="[Texto]" custT="1"/>
      <dgm:spPr/>
      <dgm:t>
        <a:bodyPr/>
        <a:lstStyle/>
        <a:p>
          <a:r>
            <a:rPr lang="es-CO" sz="1400" b="1" dirty="0" smtClean="0">
              <a:solidFill>
                <a:srgbClr val="C00000"/>
              </a:solidFill>
            </a:rPr>
            <a:t>MEN</a:t>
          </a:r>
        </a:p>
        <a:p>
          <a:r>
            <a:rPr lang="es-CO" sz="1400" b="1" dirty="0" smtClean="0">
              <a:solidFill>
                <a:srgbClr val="C00000"/>
              </a:solidFill>
            </a:rPr>
            <a:t>Banco de Pares (SEC)</a:t>
          </a:r>
          <a:endParaRPr lang="es-CO" sz="1400" b="1" dirty="0">
            <a:solidFill>
              <a:srgbClr val="C00000"/>
            </a:solidFill>
          </a:endParaRPr>
        </a:p>
      </dgm:t>
    </dgm:pt>
    <dgm:pt modelId="{E43368ED-4C29-471D-8B9C-1DAFE9ACFD76}" type="parTrans" cxnId="{99A4C257-A256-494A-A913-92C42C9915B4}">
      <dgm:prSet/>
      <dgm:spPr/>
      <dgm:t>
        <a:bodyPr/>
        <a:lstStyle/>
        <a:p>
          <a:endParaRPr lang="es-CO" sz="2800" b="1">
            <a:solidFill>
              <a:srgbClr val="000099"/>
            </a:solidFill>
          </a:endParaRPr>
        </a:p>
      </dgm:t>
    </dgm:pt>
    <dgm:pt modelId="{5D2F0C93-BD23-45F8-BA35-42CD5C769487}" type="sibTrans" cxnId="{99A4C257-A256-494A-A913-92C42C9915B4}">
      <dgm:prSet/>
      <dgm:spPr/>
      <dgm:t>
        <a:bodyPr/>
        <a:lstStyle/>
        <a:p>
          <a:endParaRPr lang="es-CO" sz="2800" b="1">
            <a:solidFill>
              <a:srgbClr val="000099"/>
            </a:solidFill>
          </a:endParaRPr>
        </a:p>
      </dgm:t>
    </dgm:pt>
    <dgm:pt modelId="{96385D4C-E34D-4057-8FB1-C150BD6A79CD}">
      <dgm:prSet phldrT="[Texto]" custT="1"/>
      <dgm:spPr/>
      <dgm:t>
        <a:bodyPr/>
        <a:lstStyle/>
        <a:p>
          <a:r>
            <a:rPr lang="es-CO" sz="2000" b="1" dirty="0" smtClean="0">
              <a:solidFill>
                <a:srgbClr val="C00000"/>
              </a:solidFill>
            </a:rPr>
            <a:t>SIACET</a:t>
          </a:r>
          <a:endParaRPr lang="es-CO" sz="2000" b="1" dirty="0">
            <a:solidFill>
              <a:srgbClr val="C00000"/>
            </a:solidFill>
          </a:endParaRPr>
        </a:p>
      </dgm:t>
    </dgm:pt>
    <dgm:pt modelId="{37535E16-513F-4306-B2FC-0C28F9CD6A3F}" type="parTrans" cxnId="{2AAB651D-E89A-4465-BE5E-498C6CD6B865}">
      <dgm:prSet/>
      <dgm:spPr/>
      <dgm:t>
        <a:bodyPr/>
        <a:lstStyle/>
        <a:p>
          <a:endParaRPr lang="es-CO" sz="2800" b="1">
            <a:solidFill>
              <a:srgbClr val="000099"/>
            </a:solidFill>
          </a:endParaRPr>
        </a:p>
      </dgm:t>
    </dgm:pt>
    <dgm:pt modelId="{138995FF-27F9-4B6C-9A51-FC37B295EDA3}" type="sibTrans" cxnId="{2AAB651D-E89A-4465-BE5E-498C6CD6B865}">
      <dgm:prSet/>
      <dgm:spPr/>
      <dgm:t>
        <a:bodyPr/>
        <a:lstStyle/>
        <a:p>
          <a:endParaRPr lang="es-CO" sz="2800" b="1">
            <a:solidFill>
              <a:srgbClr val="000099"/>
            </a:solidFill>
          </a:endParaRPr>
        </a:p>
      </dgm:t>
    </dgm:pt>
    <dgm:pt modelId="{6B3A618A-B571-4392-BD9F-1DAA3B284CBF}">
      <dgm:prSet phldrT="[Texto]" custT="1"/>
      <dgm:spPr/>
      <dgm:t>
        <a:bodyPr/>
        <a:lstStyle/>
        <a:p>
          <a:r>
            <a:rPr lang="es-CO" sz="2400" b="1" dirty="0" smtClean="0">
              <a:solidFill>
                <a:srgbClr val="000099"/>
              </a:solidFill>
            </a:rPr>
            <a:t>SIET</a:t>
          </a:r>
          <a:endParaRPr lang="es-CO" sz="2400" b="1" dirty="0">
            <a:solidFill>
              <a:srgbClr val="000099"/>
            </a:solidFill>
          </a:endParaRPr>
        </a:p>
      </dgm:t>
    </dgm:pt>
    <dgm:pt modelId="{CE1F62CA-D068-4266-A055-F7C28DDE5616}" type="parTrans" cxnId="{EE999D61-BCE6-464F-9526-F96A24E25D87}">
      <dgm:prSet/>
      <dgm:spPr/>
      <dgm:t>
        <a:bodyPr/>
        <a:lstStyle/>
        <a:p>
          <a:endParaRPr lang="es-CO" sz="2800" b="1">
            <a:solidFill>
              <a:srgbClr val="000099"/>
            </a:solidFill>
          </a:endParaRPr>
        </a:p>
      </dgm:t>
    </dgm:pt>
    <dgm:pt modelId="{43F579A0-4A32-40EB-A5C2-04DC8D76EB1F}" type="sibTrans" cxnId="{EE999D61-BCE6-464F-9526-F96A24E25D87}">
      <dgm:prSet/>
      <dgm:spPr/>
      <dgm:t>
        <a:bodyPr/>
        <a:lstStyle/>
        <a:p>
          <a:endParaRPr lang="es-CO" sz="2800" b="1">
            <a:solidFill>
              <a:srgbClr val="000099"/>
            </a:solidFill>
          </a:endParaRPr>
        </a:p>
      </dgm:t>
    </dgm:pt>
    <dgm:pt modelId="{4B760F7F-1DF9-4FA8-93F0-AC3D119BECC1}">
      <dgm:prSet phldrT="[Texto]" custT="1"/>
      <dgm:spPr/>
      <dgm:t>
        <a:bodyPr/>
        <a:lstStyle/>
        <a:p>
          <a:r>
            <a:rPr lang="es-CO" sz="1600" b="1" dirty="0" smtClean="0">
              <a:solidFill>
                <a:srgbClr val="C00000"/>
              </a:solidFill>
            </a:rPr>
            <a:t>SCAFT</a:t>
          </a:r>
          <a:endParaRPr lang="es-CO" sz="1600" b="1" dirty="0">
            <a:solidFill>
              <a:srgbClr val="C00000"/>
            </a:solidFill>
          </a:endParaRPr>
        </a:p>
      </dgm:t>
    </dgm:pt>
    <dgm:pt modelId="{AA722CB3-BA91-4760-9BFC-CF5CAC9351E2}" type="parTrans" cxnId="{8AD35B24-35DC-48E8-905C-020E05F8E94E}">
      <dgm:prSet/>
      <dgm:spPr/>
      <dgm:t>
        <a:bodyPr/>
        <a:lstStyle/>
        <a:p>
          <a:endParaRPr lang="es-CO"/>
        </a:p>
      </dgm:t>
    </dgm:pt>
    <dgm:pt modelId="{5FD605F9-77A7-4726-B253-42B213E1F2BA}" type="sibTrans" cxnId="{8AD35B24-35DC-48E8-905C-020E05F8E94E}">
      <dgm:prSet/>
      <dgm:spPr/>
      <dgm:t>
        <a:bodyPr/>
        <a:lstStyle/>
        <a:p>
          <a:endParaRPr lang="es-CO"/>
        </a:p>
      </dgm:t>
    </dgm:pt>
    <dgm:pt modelId="{05F91DF8-971D-4104-966B-25DF4F644827}" type="pres">
      <dgm:prSet presAssocID="{7E939570-1146-4895-BAC3-BC5BB9DE7FD9}" presName="Name0" presStyleCnt="0">
        <dgm:presLayoutVars>
          <dgm:chMax val="7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9DC94F95-BA70-4726-AB6E-B09F7305B163}" type="pres">
      <dgm:prSet presAssocID="{7E939570-1146-4895-BAC3-BC5BB9DE7FD9}" presName="comp1" presStyleCnt="0"/>
      <dgm:spPr/>
    </dgm:pt>
    <dgm:pt modelId="{FCBCC9CB-CCFD-4ADA-A2DC-5377C82B0C7B}" type="pres">
      <dgm:prSet presAssocID="{7E939570-1146-4895-BAC3-BC5BB9DE7FD9}" presName="circle1" presStyleLbl="node1" presStyleIdx="0" presStyleCnt="4" custLinFactNeighborX="-916" custLinFactNeighborY="724"/>
      <dgm:spPr/>
      <dgm:t>
        <a:bodyPr/>
        <a:lstStyle/>
        <a:p>
          <a:endParaRPr lang="es-CO"/>
        </a:p>
      </dgm:t>
    </dgm:pt>
    <dgm:pt modelId="{BACDC6E5-1998-40AD-B380-C98895DA37FA}" type="pres">
      <dgm:prSet presAssocID="{7E939570-1146-4895-BAC3-BC5BB9DE7FD9}" presName="c1text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6C30DF9E-492B-4EF6-9EF3-2A834BBF53DF}" type="pres">
      <dgm:prSet presAssocID="{7E939570-1146-4895-BAC3-BC5BB9DE7FD9}" presName="comp2" presStyleCnt="0"/>
      <dgm:spPr/>
    </dgm:pt>
    <dgm:pt modelId="{A02FAB29-46D4-4715-8B5F-3A93EB3B188B}" type="pres">
      <dgm:prSet presAssocID="{7E939570-1146-4895-BAC3-BC5BB9DE7FD9}" presName="circle2" presStyleLbl="node1" presStyleIdx="1" presStyleCnt="4"/>
      <dgm:spPr/>
      <dgm:t>
        <a:bodyPr/>
        <a:lstStyle/>
        <a:p>
          <a:endParaRPr lang="es-CO"/>
        </a:p>
      </dgm:t>
    </dgm:pt>
    <dgm:pt modelId="{3E6D0D20-14FF-4F6C-9FF6-B16EB646C57D}" type="pres">
      <dgm:prSet presAssocID="{7E939570-1146-4895-BAC3-BC5BB9DE7FD9}" presName="c2text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7BA36F8B-637F-41F9-9D4D-A9ABF0A84F23}" type="pres">
      <dgm:prSet presAssocID="{7E939570-1146-4895-BAC3-BC5BB9DE7FD9}" presName="comp3" presStyleCnt="0"/>
      <dgm:spPr/>
    </dgm:pt>
    <dgm:pt modelId="{38DF4771-44E3-434C-8D28-39E7A86F6222}" type="pres">
      <dgm:prSet presAssocID="{7E939570-1146-4895-BAC3-BC5BB9DE7FD9}" presName="circle3" presStyleLbl="node1" presStyleIdx="2" presStyleCnt="4"/>
      <dgm:spPr/>
      <dgm:t>
        <a:bodyPr/>
        <a:lstStyle/>
        <a:p>
          <a:endParaRPr lang="es-CO"/>
        </a:p>
      </dgm:t>
    </dgm:pt>
    <dgm:pt modelId="{1C50D6A0-745C-497B-8BB5-FC40650C5D05}" type="pres">
      <dgm:prSet presAssocID="{7E939570-1146-4895-BAC3-BC5BB9DE7FD9}" presName="c3text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4493F1E3-09E7-47D2-A074-90DEE3059461}" type="pres">
      <dgm:prSet presAssocID="{7E939570-1146-4895-BAC3-BC5BB9DE7FD9}" presName="comp4" presStyleCnt="0"/>
      <dgm:spPr/>
    </dgm:pt>
    <dgm:pt modelId="{6EDA969A-B36D-46E6-8672-EE8B61D1564D}" type="pres">
      <dgm:prSet presAssocID="{7E939570-1146-4895-BAC3-BC5BB9DE7FD9}" presName="circle4" presStyleLbl="node1" presStyleIdx="3" presStyleCnt="4" custLinFactNeighborX="686" custLinFactNeighborY="52"/>
      <dgm:spPr/>
      <dgm:t>
        <a:bodyPr/>
        <a:lstStyle/>
        <a:p>
          <a:endParaRPr lang="es-CO"/>
        </a:p>
      </dgm:t>
    </dgm:pt>
    <dgm:pt modelId="{9938B3CB-C233-4C71-A6C0-6FD186458264}" type="pres">
      <dgm:prSet presAssocID="{7E939570-1146-4895-BAC3-BC5BB9DE7FD9}" presName="c4text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8AD35B24-35DC-48E8-905C-020E05F8E94E}" srcId="{7E939570-1146-4895-BAC3-BC5BB9DE7FD9}" destId="{4B760F7F-1DF9-4FA8-93F0-AC3D119BECC1}" srcOrd="0" destOrd="0" parTransId="{AA722CB3-BA91-4760-9BFC-CF5CAC9351E2}" sibTransId="{5FD605F9-77A7-4726-B253-42B213E1F2BA}"/>
    <dgm:cxn modelId="{DD578466-DA73-4883-98C1-A34A93531CEB}" type="presOf" srcId="{96385D4C-E34D-4057-8FB1-C150BD6A79CD}" destId="{38DF4771-44E3-434C-8D28-39E7A86F6222}" srcOrd="0" destOrd="0" presId="urn:microsoft.com/office/officeart/2005/8/layout/venn2"/>
    <dgm:cxn modelId="{9DAE1501-376A-4B29-918D-E69C5F10EC4B}" type="presOf" srcId="{3B16A65C-A293-45E5-AE9A-B3F13A941C11}" destId="{3E6D0D20-14FF-4F6C-9FF6-B16EB646C57D}" srcOrd="1" destOrd="0" presId="urn:microsoft.com/office/officeart/2005/8/layout/venn2"/>
    <dgm:cxn modelId="{F75B5D24-700C-4C60-AFA3-5680BEA3BAB0}" type="presOf" srcId="{7E939570-1146-4895-BAC3-BC5BB9DE7FD9}" destId="{05F91DF8-971D-4104-966B-25DF4F644827}" srcOrd="0" destOrd="0" presId="urn:microsoft.com/office/officeart/2005/8/layout/venn2"/>
    <dgm:cxn modelId="{B92B530C-1216-48A9-BBB0-81895A1A9BDB}" type="presOf" srcId="{6B3A618A-B571-4392-BD9F-1DAA3B284CBF}" destId="{9938B3CB-C233-4C71-A6C0-6FD186458264}" srcOrd="1" destOrd="0" presId="urn:microsoft.com/office/officeart/2005/8/layout/venn2"/>
    <dgm:cxn modelId="{04F6FF62-4332-4959-800A-C7A2ABED3263}" type="presOf" srcId="{96385D4C-E34D-4057-8FB1-C150BD6A79CD}" destId="{1C50D6A0-745C-497B-8BB5-FC40650C5D05}" srcOrd="1" destOrd="0" presId="urn:microsoft.com/office/officeart/2005/8/layout/venn2"/>
    <dgm:cxn modelId="{4A610953-EAE9-4356-8EFF-E38D88FC13F3}" type="presOf" srcId="{6B3A618A-B571-4392-BD9F-1DAA3B284CBF}" destId="{6EDA969A-B36D-46E6-8672-EE8B61D1564D}" srcOrd="0" destOrd="0" presId="urn:microsoft.com/office/officeart/2005/8/layout/venn2"/>
    <dgm:cxn modelId="{2AAB651D-E89A-4465-BE5E-498C6CD6B865}" srcId="{7E939570-1146-4895-BAC3-BC5BB9DE7FD9}" destId="{96385D4C-E34D-4057-8FB1-C150BD6A79CD}" srcOrd="2" destOrd="0" parTransId="{37535E16-513F-4306-B2FC-0C28F9CD6A3F}" sibTransId="{138995FF-27F9-4B6C-9A51-FC37B295EDA3}"/>
    <dgm:cxn modelId="{56AA8F97-94F4-4696-8ACD-FF7C283DB912}" type="presOf" srcId="{4B760F7F-1DF9-4FA8-93F0-AC3D119BECC1}" destId="{FCBCC9CB-CCFD-4ADA-A2DC-5377C82B0C7B}" srcOrd="0" destOrd="0" presId="urn:microsoft.com/office/officeart/2005/8/layout/venn2"/>
    <dgm:cxn modelId="{B4E22396-338E-44D6-B015-0F75D1E7C1F2}" type="presOf" srcId="{3B16A65C-A293-45E5-AE9A-B3F13A941C11}" destId="{A02FAB29-46D4-4715-8B5F-3A93EB3B188B}" srcOrd="0" destOrd="0" presId="urn:microsoft.com/office/officeart/2005/8/layout/venn2"/>
    <dgm:cxn modelId="{99A4C257-A256-494A-A913-92C42C9915B4}" srcId="{7E939570-1146-4895-BAC3-BC5BB9DE7FD9}" destId="{3B16A65C-A293-45E5-AE9A-B3F13A941C11}" srcOrd="1" destOrd="0" parTransId="{E43368ED-4C29-471D-8B9C-1DAFE9ACFD76}" sibTransId="{5D2F0C93-BD23-45F8-BA35-42CD5C769487}"/>
    <dgm:cxn modelId="{948B2AD6-9BAB-4060-BA89-4253C2BB124C}" type="presOf" srcId="{4B760F7F-1DF9-4FA8-93F0-AC3D119BECC1}" destId="{BACDC6E5-1998-40AD-B380-C98895DA37FA}" srcOrd="1" destOrd="0" presId="urn:microsoft.com/office/officeart/2005/8/layout/venn2"/>
    <dgm:cxn modelId="{EE999D61-BCE6-464F-9526-F96A24E25D87}" srcId="{7E939570-1146-4895-BAC3-BC5BB9DE7FD9}" destId="{6B3A618A-B571-4392-BD9F-1DAA3B284CBF}" srcOrd="3" destOrd="0" parTransId="{CE1F62CA-D068-4266-A055-F7C28DDE5616}" sibTransId="{43F579A0-4A32-40EB-A5C2-04DC8D76EB1F}"/>
    <dgm:cxn modelId="{C320CC01-2666-4E4E-9F22-E9F6B061390B}" type="presParOf" srcId="{05F91DF8-971D-4104-966B-25DF4F644827}" destId="{9DC94F95-BA70-4726-AB6E-B09F7305B163}" srcOrd="0" destOrd="0" presId="urn:microsoft.com/office/officeart/2005/8/layout/venn2"/>
    <dgm:cxn modelId="{8E30F00C-8281-49A5-A384-8462390D0DC3}" type="presParOf" srcId="{9DC94F95-BA70-4726-AB6E-B09F7305B163}" destId="{FCBCC9CB-CCFD-4ADA-A2DC-5377C82B0C7B}" srcOrd="0" destOrd="0" presId="urn:microsoft.com/office/officeart/2005/8/layout/venn2"/>
    <dgm:cxn modelId="{3B4D2AA6-60F4-404B-AB0B-A2124C00158C}" type="presParOf" srcId="{9DC94F95-BA70-4726-AB6E-B09F7305B163}" destId="{BACDC6E5-1998-40AD-B380-C98895DA37FA}" srcOrd="1" destOrd="0" presId="urn:microsoft.com/office/officeart/2005/8/layout/venn2"/>
    <dgm:cxn modelId="{E923DE6A-19AC-4B16-8FAE-93D515D4B4AC}" type="presParOf" srcId="{05F91DF8-971D-4104-966B-25DF4F644827}" destId="{6C30DF9E-492B-4EF6-9EF3-2A834BBF53DF}" srcOrd="1" destOrd="0" presId="urn:microsoft.com/office/officeart/2005/8/layout/venn2"/>
    <dgm:cxn modelId="{F9E08235-CC18-49DD-9860-2AB2B35662C3}" type="presParOf" srcId="{6C30DF9E-492B-4EF6-9EF3-2A834BBF53DF}" destId="{A02FAB29-46D4-4715-8B5F-3A93EB3B188B}" srcOrd="0" destOrd="0" presId="urn:microsoft.com/office/officeart/2005/8/layout/venn2"/>
    <dgm:cxn modelId="{0CE37CB8-804D-4112-BE56-820E6C9FBF97}" type="presParOf" srcId="{6C30DF9E-492B-4EF6-9EF3-2A834BBF53DF}" destId="{3E6D0D20-14FF-4F6C-9FF6-B16EB646C57D}" srcOrd="1" destOrd="0" presId="urn:microsoft.com/office/officeart/2005/8/layout/venn2"/>
    <dgm:cxn modelId="{834B9E84-B977-48F4-93AD-01BE71AB6CE6}" type="presParOf" srcId="{05F91DF8-971D-4104-966B-25DF4F644827}" destId="{7BA36F8B-637F-41F9-9D4D-A9ABF0A84F23}" srcOrd="2" destOrd="0" presId="urn:microsoft.com/office/officeart/2005/8/layout/venn2"/>
    <dgm:cxn modelId="{8B446824-84CB-4AB9-A5E1-1607C8576F24}" type="presParOf" srcId="{7BA36F8B-637F-41F9-9D4D-A9ABF0A84F23}" destId="{38DF4771-44E3-434C-8D28-39E7A86F6222}" srcOrd="0" destOrd="0" presId="urn:microsoft.com/office/officeart/2005/8/layout/venn2"/>
    <dgm:cxn modelId="{5E343875-B061-4B1E-9E14-23AF8E785CE3}" type="presParOf" srcId="{7BA36F8B-637F-41F9-9D4D-A9ABF0A84F23}" destId="{1C50D6A0-745C-497B-8BB5-FC40650C5D05}" srcOrd="1" destOrd="0" presId="urn:microsoft.com/office/officeart/2005/8/layout/venn2"/>
    <dgm:cxn modelId="{CD89A2E4-0B2F-4EAB-A315-75F728200617}" type="presParOf" srcId="{05F91DF8-971D-4104-966B-25DF4F644827}" destId="{4493F1E3-09E7-47D2-A074-90DEE3059461}" srcOrd="3" destOrd="0" presId="urn:microsoft.com/office/officeart/2005/8/layout/venn2"/>
    <dgm:cxn modelId="{CE4CA2BD-561C-40BA-BBC6-30C4DF74E023}" type="presParOf" srcId="{4493F1E3-09E7-47D2-A074-90DEE3059461}" destId="{6EDA969A-B36D-46E6-8672-EE8B61D1564D}" srcOrd="0" destOrd="0" presId="urn:microsoft.com/office/officeart/2005/8/layout/venn2"/>
    <dgm:cxn modelId="{278E2131-88A6-4E20-AE96-31D3C181D5ED}" type="presParOf" srcId="{4493F1E3-09E7-47D2-A074-90DEE3059461}" destId="{9938B3CB-C233-4C71-A6C0-6FD186458264}" srcOrd="1" destOrd="0" presId="urn:microsoft.com/office/officeart/2005/8/layout/venn2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15.xml><?xml version="1.0" encoding="utf-8"?>
<dgm:dataModel xmlns:dgm="http://schemas.openxmlformats.org/drawingml/2006/diagram" xmlns:a="http://schemas.openxmlformats.org/drawingml/2006/main">
  <dgm:ptLst>
    <dgm:pt modelId="{1AE9E1AD-4EE7-4594-8AD9-60549FACB3CC}" type="doc">
      <dgm:prSet loTypeId="urn:microsoft.com/office/officeart/2005/8/layout/process1" loCatId="process" qsTypeId="urn:microsoft.com/office/officeart/2005/8/quickstyle/simple3" qsCatId="simple" csTypeId="urn:microsoft.com/office/officeart/2005/8/colors/accent4_1" csCatId="accent4" phldr="1"/>
      <dgm:spPr/>
    </dgm:pt>
    <dgm:pt modelId="{BD947D26-77CD-4C30-BCAF-BC2340EAAA48}">
      <dgm:prSet phldrT="[Texto]" custT="1"/>
      <dgm:spPr>
        <a:ln>
          <a:solidFill>
            <a:schemeClr val="tx1"/>
          </a:solidFill>
        </a:ln>
      </dgm:spPr>
      <dgm:t>
        <a:bodyPr/>
        <a:lstStyle/>
        <a:p>
          <a:r>
            <a:rPr lang="es-CO" sz="1800" b="1" baseline="0" dirty="0" smtClean="0"/>
            <a:t>Radicación</a:t>
          </a:r>
          <a:endParaRPr lang="es-CO" sz="1800" b="1" baseline="0" dirty="0"/>
        </a:p>
      </dgm:t>
    </dgm:pt>
    <dgm:pt modelId="{2B70ABCC-3BAC-44B8-9B63-B292C5858379}" type="parTrans" cxnId="{CDCC68BC-5B0A-491D-B602-7EDC99357EF7}">
      <dgm:prSet/>
      <dgm:spPr/>
      <dgm:t>
        <a:bodyPr/>
        <a:lstStyle/>
        <a:p>
          <a:endParaRPr lang="es-CO"/>
        </a:p>
      </dgm:t>
    </dgm:pt>
    <dgm:pt modelId="{83AD8B08-C98A-49AE-B4F4-6EE703943F25}" type="sibTrans" cxnId="{CDCC68BC-5B0A-491D-B602-7EDC99357EF7}">
      <dgm:prSet/>
      <dgm:spPr>
        <a:ln>
          <a:solidFill>
            <a:schemeClr val="tx1"/>
          </a:solidFill>
        </a:ln>
      </dgm:spPr>
      <dgm:t>
        <a:bodyPr/>
        <a:lstStyle/>
        <a:p>
          <a:endParaRPr lang="es-CO"/>
        </a:p>
      </dgm:t>
    </dgm:pt>
    <dgm:pt modelId="{BF3E0225-EF40-4DFD-916A-810A7F40AD73}">
      <dgm:prSet phldrT="[Texto]" custT="1"/>
      <dgm:spPr>
        <a:ln>
          <a:solidFill>
            <a:schemeClr val="tx1"/>
          </a:solidFill>
        </a:ln>
      </dgm:spPr>
      <dgm:t>
        <a:bodyPr/>
        <a:lstStyle/>
        <a:p>
          <a:r>
            <a:rPr lang="es-CO" sz="1800" b="1" dirty="0" smtClean="0"/>
            <a:t>Admisión</a:t>
          </a:r>
          <a:endParaRPr lang="es-CO" sz="1800" b="1" dirty="0"/>
        </a:p>
      </dgm:t>
    </dgm:pt>
    <dgm:pt modelId="{26C7BD62-F6EA-44BF-B32C-3A5A1087979D}" type="parTrans" cxnId="{AAFE6E76-BC8E-4315-965E-09A67C84F659}">
      <dgm:prSet/>
      <dgm:spPr/>
      <dgm:t>
        <a:bodyPr/>
        <a:lstStyle/>
        <a:p>
          <a:endParaRPr lang="es-CO"/>
        </a:p>
      </dgm:t>
    </dgm:pt>
    <dgm:pt modelId="{242004AB-B2A1-4EE4-9A9F-A4B73AC35645}" type="sibTrans" cxnId="{AAFE6E76-BC8E-4315-965E-09A67C84F659}">
      <dgm:prSet/>
      <dgm:spPr>
        <a:ln>
          <a:solidFill>
            <a:schemeClr val="tx1"/>
          </a:solidFill>
        </a:ln>
      </dgm:spPr>
      <dgm:t>
        <a:bodyPr/>
        <a:lstStyle/>
        <a:p>
          <a:endParaRPr lang="es-CO"/>
        </a:p>
      </dgm:t>
    </dgm:pt>
    <dgm:pt modelId="{DD82A1F1-D054-4FED-BA1B-4A0E8C9B7EE3}">
      <dgm:prSet phldrT="[Texto]" custT="1"/>
      <dgm:spPr>
        <a:gradFill rotWithShape="0">
          <a:gsLst>
            <a:gs pos="0">
              <a:srgbClr val="FFEFD1"/>
            </a:gs>
            <a:gs pos="64999">
              <a:srgbClr val="F0EBD5"/>
            </a:gs>
            <a:gs pos="100000">
              <a:srgbClr val="D1C39F"/>
            </a:gs>
          </a:gsLst>
          <a:lin ang="5040000" scaled="0"/>
        </a:gradFill>
        <a:ln>
          <a:solidFill>
            <a:schemeClr val="tx1"/>
          </a:solidFill>
        </a:ln>
      </dgm:spPr>
      <dgm:t>
        <a:bodyPr/>
        <a:lstStyle/>
        <a:p>
          <a:r>
            <a:rPr lang="es-CO" sz="1800" b="1" dirty="0" smtClean="0"/>
            <a:t>Evaluación y concepto técnico</a:t>
          </a:r>
          <a:endParaRPr lang="es-CO" sz="1800" b="1" dirty="0"/>
        </a:p>
      </dgm:t>
    </dgm:pt>
    <dgm:pt modelId="{859A9A75-1DC8-4E0F-8935-C4812ECE5547}" type="parTrans" cxnId="{0A2DC9FC-F5B6-4EF6-9F61-403738EE2C6E}">
      <dgm:prSet/>
      <dgm:spPr/>
      <dgm:t>
        <a:bodyPr/>
        <a:lstStyle/>
        <a:p>
          <a:endParaRPr lang="es-CO"/>
        </a:p>
      </dgm:t>
    </dgm:pt>
    <dgm:pt modelId="{126BA615-5160-47F6-A4CB-BAFB13FDFB2E}" type="sibTrans" cxnId="{0A2DC9FC-F5B6-4EF6-9F61-403738EE2C6E}">
      <dgm:prSet/>
      <dgm:spPr>
        <a:ln>
          <a:solidFill>
            <a:schemeClr val="tx1"/>
          </a:solidFill>
        </a:ln>
      </dgm:spPr>
      <dgm:t>
        <a:bodyPr/>
        <a:lstStyle/>
        <a:p>
          <a:endParaRPr lang="es-CO"/>
        </a:p>
      </dgm:t>
    </dgm:pt>
    <dgm:pt modelId="{D92DCE80-E9FA-4DBF-9005-7C363BE7EDE9}">
      <dgm:prSet phldrT="[Texto]" custT="1"/>
      <dgm:spPr>
        <a:ln>
          <a:solidFill>
            <a:schemeClr val="tx1"/>
          </a:solidFill>
        </a:ln>
      </dgm:spPr>
      <dgm:t>
        <a:bodyPr/>
        <a:lstStyle/>
        <a:p>
          <a:r>
            <a:rPr lang="es-CO" sz="1800" b="1" dirty="0" smtClean="0"/>
            <a:t>Expedición acto administrativo</a:t>
          </a:r>
          <a:endParaRPr lang="es-CO" sz="1800" b="1" dirty="0"/>
        </a:p>
      </dgm:t>
    </dgm:pt>
    <dgm:pt modelId="{09B78F37-5D13-4181-82EB-9C5931F1916B}" type="parTrans" cxnId="{F4389597-07E6-4794-9AAA-836E2561D8D0}">
      <dgm:prSet/>
      <dgm:spPr/>
      <dgm:t>
        <a:bodyPr/>
        <a:lstStyle/>
        <a:p>
          <a:endParaRPr lang="es-CO"/>
        </a:p>
      </dgm:t>
    </dgm:pt>
    <dgm:pt modelId="{C16DF259-B216-4CE2-B2CE-F207E4D06180}" type="sibTrans" cxnId="{F4389597-07E6-4794-9AAA-836E2561D8D0}">
      <dgm:prSet/>
      <dgm:spPr/>
      <dgm:t>
        <a:bodyPr/>
        <a:lstStyle/>
        <a:p>
          <a:endParaRPr lang="es-CO"/>
        </a:p>
      </dgm:t>
    </dgm:pt>
    <dgm:pt modelId="{A951D85B-CEB6-4A71-9C82-0270D8C815BA}" type="pres">
      <dgm:prSet presAssocID="{1AE9E1AD-4EE7-4594-8AD9-60549FACB3CC}" presName="Name0" presStyleCnt="0">
        <dgm:presLayoutVars>
          <dgm:dir/>
          <dgm:resizeHandles val="exact"/>
        </dgm:presLayoutVars>
      </dgm:prSet>
      <dgm:spPr/>
    </dgm:pt>
    <dgm:pt modelId="{AAEBB448-7A79-4223-B3A2-B08718EDD020}" type="pres">
      <dgm:prSet presAssocID="{BD947D26-77CD-4C30-BCAF-BC2340EAAA48}" presName="node" presStyleLbl="node1" presStyleIdx="0" presStyleCnt="4" custScaleY="145770" custLinFactNeighborX="-11506" custLinFactNeighborY="6286">
        <dgm:presLayoutVars>
          <dgm:bulletEnabled val="1"/>
        </dgm:presLayoutVars>
      </dgm:prSet>
      <dgm:spPr/>
      <dgm:t>
        <a:bodyPr/>
        <a:lstStyle/>
        <a:p>
          <a:endParaRPr lang="es-MX"/>
        </a:p>
      </dgm:t>
    </dgm:pt>
    <dgm:pt modelId="{FB45F770-6424-45F2-888F-C2E18009EA32}" type="pres">
      <dgm:prSet presAssocID="{83AD8B08-C98A-49AE-B4F4-6EE703943F25}" presName="sibTrans" presStyleLbl="sibTrans2D1" presStyleIdx="0" presStyleCnt="3"/>
      <dgm:spPr/>
      <dgm:t>
        <a:bodyPr/>
        <a:lstStyle/>
        <a:p>
          <a:endParaRPr lang="es-MX"/>
        </a:p>
      </dgm:t>
    </dgm:pt>
    <dgm:pt modelId="{B903A6E1-7CEC-4DAF-B98B-7B5DC0CC38FD}" type="pres">
      <dgm:prSet presAssocID="{83AD8B08-C98A-49AE-B4F4-6EE703943F25}" presName="connectorText" presStyleLbl="sibTrans2D1" presStyleIdx="0" presStyleCnt="3"/>
      <dgm:spPr/>
      <dgm:t>
        <a:bodyPr/>
        <a:lstStyle/>
        <a:p>
          <a:endParaRPr lang="es-MX"/>
        </a:p>
      </dgm:t>
    </dgm:pt>
    <dgm:pt modelId="{3A81BEAA-FD45-4847-BD51-2D87C56F28A3}" type="pres">
      <dgm:prSet presAssocID="{BF3E0225-EF40-4DFD-916A-810A7F40AD73}" presName="node" presStyleLbl="node1" presStyleIdx="1" presStyleCnt="4" custScaleY="145770">
        <dgm:presLayoutVars>
          <dgm:bulletEnabled val="1"/>
        </dgm:presLayoutVars>
      </dgm:prSet>
      <dgm:spPr/>
      <dgm:t>
        <a:bodyPr/>
        <a:lstStyle/>
        <a:p>
          <a:endParaRPr lang="es-MX"/>
        </a:p>
      </dgm:t>
    </dgm:pt>
    <dgm:pt modelId="{E5262919-818A-4750-A55C-EFA41F4D5269}" type="pres">
      <dgm:prSet presAssocID="{242004AB-B2A1-4EE4-9A9F-A4B73AC35645}" presName="sibTrans" presStyleLbl="sibTrans2D1" presStyleIdx="1" presStyleCnt="3"/>
      <dgm:spPr/>
      <dgm:t>
        <a:bodyPr/>
        <a:lstStyle/>
        <a:p>
          <a:endParaRPr lang="es-MX"/>
        </a:p>
      </dgm:t>
    </dgm:pt>
    <dgm:pt modelId="{FF0E3ACC-CC76-4E87-A1B2-C420CFE81AA5}" type="pres">
      <dgm:prSet presAssocID="{242004AB-B2A1-4EE4-9A9F-A4B73AC35645}" presName="connectorText" presStyleLbl="sibTrans2D1" presStyleIdx="1" presStyleCnt="3"/>
      <dgm:spPr/>
      <dgm:t>
        <a:bodyPr/>
        <a:lstStyle/>
        <a:p>
          <a:endParaRPr lang="es-MX"/>
        </a:p>
      </dgm:t>
    </dgm:pt>
    <dgm:pt modelId="{9B07BDE7-D034-4A76-8710-DE9D01B51BAA}" type="pres">
      <dgm:prSet presAssocID="{DD82A1F1-D054-4FED-BA1B-4A0E8C9B7EE3}" presName="node" presStyleLbl="node1" presStyleIdx="2" presStyleCnt="4" custScaleY="145770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227CCB90-20E2-47E6-97EF-07F340FB25A1}" type="pres">
      <dgm:prSet presAssocID="{126BA615-5160-47F6-A4CB-BAFB13FDFB2E}" presName="sibTrans" presStyleLbl="sibTrans2D1" presStyleIdx="2" presStyleCnt="3"/>
      <dgm:spPr/>
      <dgm:t>
        <a:bodyPr/>
        <a:lstStyle/>
        <a:p>
          <a:endParaRPr lang="es-MX"/>
        </a:p>
      </dgm:t>
    </dgm:pt>
    <dgm:pt modelId="{24C3DAF5-8038-44E1-A997-90073E77A117}" type="pres">
      <dgm:prSet presAssocID="{126BA615-5160-47F6-A4CB-BAFB13FDFB2E}" presName="connectorText" presStyleLbl="sibTrans2D1" presStyleIdx="2" presStyleCnt="3"/>
      <dgm:spPr/>
      <dgm:t>
        <a:bodyPr/>
        <a:lstStyle/>
        <a:p>
          <a:endParaRPr lang="es-MX"/>
        </a:p>
      </dgm:t>
    </dgm:pt>
    <dgm:pt modelId="{68AA3B69-CD8A-4B67-8305-206DE1D0C45E}" type="pres">
      <dgm:prSet presAssocID="{D92DCE80-E9FA-4DBF-9005-7C363BE7EDE9}" presName="node" presStyleLbl="node1" presStyleIdx="3" presStyleCnt="4" custScaleX="112181" custScaleY="181112">
        <dgm:presLayoutVars>
          <dgm:bulletEnabled val="1"/>
        </dgm:presLayoutVars>
      </dgm:prSet>
      <dgm:spPr/>
      <dgm:t>
        <a:bodyPr/>
        <a:lstStyle/>
        <a:p>
          <a:endParaRPr lang="es-MX"/>
        </a:p>
      </dgm:t>
    </dgm:pt>
  </dgm:ptLst>
  <dgm:cxnLst>
    <dgm:cxn modelId="{DAD5E559-9A17-44F8-A157-A73EDC082D44}" type="presOf" srcId="{BD947D26-77CD-4C30-BCAF-BC2340EAAA48}" destId="{AAEBB448-7A79-4223-B3A2-B08718EDD020}" srcOrd="0" destOrd="0" presId="urn:microsoft.com/office/officeart/2005/8/layout/process1"/>
    <dgm:cxn modelId="{5CBD0259-BA68-4C9E-8AC9-E224128BEC37}" type="presOf" srcId="{1AE9E1AD-4EE7-4594-8AD9-60549FACB3CC}" destId="{A951D85B-CEB6-4A71-9C82-0270D8C815BA}" srcOrd="0" destOrd="0" presId="urn:microsoft.com/office/officeart/2005/8/layout/process1"/>
    <dgm:cxn modelId="{650D5382-D8A1-4CD5-80DF-1A0FCE299E26}" type="presOf" srcId="{126BA615-5160-47F6-A4CB-BAFB13FDFB2E}" destId="{227CCB90-20E2-47E6-97EF-07F340FB25A1}" srcOrd="0" destOrd="0" presId="urn:microsoft.com/office/officeart/2005/8/layout/process1"/>
    <dgm:cxn modelId="{245D26DB-1EA0-4583-89C4-5727A6BE4F55}" type="presOf" srcId="{83AD8B08-C98A-49AE-B4F4-6EE703943F25}" destId="{FB45F770-6424-45F2-888F-C2E18009EA32}" srcOrd="0" destOrd="0" presId="urn:microsoft.com/office/officeart/2005/8/layout/process1"/>
    <dgm:cxn modelId="{EC4DF76F-79AC-49C0-8010-9F49126C33B2}" type="presOf" srcId="{D92DCE80-E9FA-4DBF-9005-7C363BE7EDE9}" destId="{68AA3B69-CD8A-4B67-8305-206DE1D0C45E}" srcOrd="0" destOrd="0" presId="urn:microsoft.com/office/officeart/2005/8/layout/process1"/>
    <dgm:cxn modelId="{CDCC68BC-5B0A-491D-B602-7EDC99357EF7}" srcId="{1AE9E1AD-4EE7-4594-8AD9-60549FACB3CC}" destId="{BD947D26-77CD-4C30-BCAF-BC2340EAAA48}" srcOrd="0" destOrd="0" parTransId="{2B70ABCC-3BAC-44B8-9B63-B292C5858379}" sibTransId="{83AD8B08-C98A-49AE-B4F4-6EE703943F25}"/>
    <dgm:cxn modelId="{F4389597-07E6-4794-9AAA-836E2561D8D0}" srcId="{1AE9E1AD-4EE7-4594-8AD9-60549FACB3CC}" destId="{D92DCE80-E9FA-4DBF-9005-7C363BE7EDE9}" srcOrd="3" destOrd="0" parTransId="{09B78F37-5D13-4181-82EB-9C5931F1916B}" sibTransId="{C16DF259-B216-4CE2-B2CE-F207E4D06180}"/>
    <dgm:cxn modelId="{FC241B2E-5EFC-4A19-8918-951ED9A19F34}" type="presOf" srcId="{BF3E0225-EF40-4DFD-916A-810A7F40AD73}" destId="{3A81BEAA-FD45-4847-BD51-2D87C56F28A3}" srcOrd="0" destOrd="0" presId="urn:microsoft.com/office/officeart/2005/8/layout/process1"/>
    <dgm:cxn modelId="{AAFE6E76-BC8E-4315-965E-09A67C84F659}" srcId="{1AE9E1AD-4EE7-4594-8AD9-60549FACB3CC}" destId="{BF3E0225-EF40-4DFD-916A-810A7F40AD73}" srcOrd="1" destOrd="0" parTransId="{26C7BD62-F6EA-44BF-B32C-3A5A1087979D}" sibTransId="{242004AB-B2A1-4EE4-9A9F-A4B73AC35645}"/>
    <dgm:cxn modelId="{7C385B5F-E989-4DCC-BAA2-65343E0E2B9D}" type="presOf" srcId="{83AD8B08-C98A-49AE-B4F4-6EE703943F25}" destId="{B903A6E1-7CEC-4DAF-B98B-7B5DC0CC38FD}" srcOrd="1" destOrd="0" presId="urn:microsoft.com/office/officeart/2005/8/layout/process1"/>
    <dgm:cxn modelId="{DED7C7E1-4626-4DF5-83CD-0D9456733FB6}" type="presOf" srcId="{DD82A1F1-D054-4FED-BA1B-4A0E8C9B7EE3}" destId="{9B07BDE7-D034-4A76-8710-DE9D01B51BAA}" srcOrd="0" destOrd="0" presId="urn:microsoft.com/office/officeart/2005/8/layout/process1"/>
    <dgm:cxn modelId="{0A2DC9FC-F5B6-4EF6-9F61-403738EE2C6E}" srcId="{1AE9E1AD-4EE7-4594-8AD9-60549FACB3CC}" destId="{DD82A1F1-D054-4FED-BA1B-4A0E8C9B7EE3}" srcOrd="2" destOrd="0" parTransId="{859A9A75-1DC8-4E0F-8935-C4812ECE5547}" sibTransId="{126BA615-5160-47F6-A4CB-BAFB13FDFB2E}"/>
    <dgm:cxn modelId="{ED4F51A0-3F16-4A00-A970-012428FE72F7}" type="presOf" srcId="{126BA615-5160-47F6-A4CB-BAFB13FDFB2E}" destId="{24C3DAF5-8038-44E1-A997-90073E77A117}" srcOrd="1" destOrd="0" presId="urn:microsoft.com/office/officeart/2005/8/layout/process1"/>
    <dgm:cxn modelId="{0F29AEF2-E0EF-4759-A410-76B08C4C5569}" type="presOf" srcId="{242004AB-B2A1-4EE4-9A9F-A4B73AC35645}" destId="{FF0E3ACC-CC76-4E87-A1B2-C420CFE81AA5}" srcOrd="1" destOrd="0" presId="urn:microsoft.com/office/officeart/2005/8/layout/process1"/>
    <dgm:cxn modelId="{F4E1D457-8D12-413E-85AF-48F83307368E}" type="presOf" srcId="{242004AB-B2A1-4EE4-9A9F-A4B73AC35645}" destId="{E5262919-818A-4750-A55C-EFA41F4D5269}" srcOrd="0" destOrd="0" presId="urn:microsoft.com/office/officeart/2005/8/layout/process1"/>
    <dgm:cxn modelId="{5EB9501F-A615-48FA-9350-736637C8F150}" type="presParOf" srcId="{A951D85B-CEB6-4A71-9C82-0270D8C815BA}" destId="{AAEBB448-7A79-4223-B3A2-B08718EDD020}" srcOrd="0" destOrd="0" presId="urn:microsoft.com/office/officeart/2005/8/layout/process1"/>
    <dgm:cxn modelId="{45CDCAE5-C9D2-4D51-B36C-A8A53D37320E}" type="presParOf" srcId="{A951D85B-CEB6-4A71-9C82-0270D8C815BA}" destId="{FB45F770-6424-45F2-888F-C2E18009EA32}" srcOrd="1" destOrd="0" presId="urn:microsoft.com/office/officeart/2005/8/layout/process1"/>
    <dgm:cxn modelId="{B6019075-33CC-4AA7-B132-578C44060850}" type="presParOf" srcId="{FB45F770-6424-45F2-888F-C2E18009EA32}" destId="{B903A6E1-7CEC-4DAF-B98B-7B5DC0CC38FD}" srcOrd="0" destOrd="0" presId="urn:microsoft.com/office/officeart/2005/8/layout/process1"/>
    <dgm:cxn modelId="{573E1F58-C18F-44B3-ACE4-6AC315C1D419}" type="presParOf" srcId="{A951D85B-CEB6-4A71-9C82-0270D8C815BA}" destId="{3A81BEAA-FD45-4847-BD51-2D87C56F28A3}" srcOrd="2" destOrd="0" presId="urn:microsoft.com/office/officeart/2005/8/layout/process1"/>
    <dgm:cxn modelId="{5173AAAE-D55A-4104-AE5E-ABE8FDDAA576}" type="presParOf" srcId="{A951D85B-CEB6-4A71-9C82-0270D8C815BA}" destId="{E5262919-818A-4750-A55C-EFA41F4D5269}" srcOrd="3" destOrd="0" presId="urn:microsoft.com/office/officeart/2005/8/layout/process1"/>
    <dgm:cxn modelId="{5BEBF800-725C-4DF2-8609-1469D3466B53}" type="presParOf" srcId="{E5262919-818A-4750-A55C-EFA41F4D5269}" destId="{FF0E3ACC-CC76-4E87-A1B2-C420CFE81AA5}" srcOrd="0" destOrd="0" presId="urn:microsoft.com/office/officeart/2005/8/layout/process1"/>
    <dgm:cxn modelId="{11B09288-1D5F-475F-A54B-B16E823A6A2F}" type="presParOf" srcId="{A951D85B-CEB6-4A71-9C82-0270D8C815BA}" destId="{9B07BDE7-D034-4A76-8710-DE9D01B51BAA}" srcOrd="4" destOrd="0" presId="urn:microsoft.com/office/officeart/2005/8/layout/process1"/>
    <dgm:cxn modelId="{BFC966BE-5014-4E07-B723-5AAAB2A59D04}" type="presParOf" srcId="{A951D85B-CEB6-4A71-9C82-0270D8C815BA}" destId="{227CCB90-20E2-47E6-97EF-07F340FB25A1}" srcOrd="5" destOrd="0" presId="urn:microsoft.com/office/officeart/2005/8/layout/process1"/>
    <dgm:cxn modelId="{9996D101-B535-47E5-A28B-B70CE7AA8D5B}" type="presParOf" srcId="{227CCB90-20E2-47E6-97EF-07F340FB25A1}" destId="{24C3DAF5-8038-44E1-A997-90073E77A117}" srcOrd="0" destOrd="0" presId="urn:microsoft.com/office/officeart/2005/8/layout/process1"/>
    <dgm:cxn modelId="{38F5C0F2-E92C-49A2-BE9D-BAD5CE4BACA5}" type="presParOf" srcId="{A951D85B-CEB6-4A71-9C82-0270D8C815BA}" destId="{68AA3B69-CD8A-4B67-8305-206DE1D0C45E}" srcOrd="6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16.xml><?xml version="1.0" encoding="utf-8"?>
<dgm:dataModel xmlns:dgm="http://schemas.openxmlformats.org/drawingml/2006/diagram" xmlns:a="http://schemas.openxmlformats.org/drawingml/2006/main">
  <dgm:ptLst>
    <dgm:pt modelId="{BB6B39BC-32D5-4C5F-A08E-293FDA8A0BE0}" type="doc">
      <dgm:prSet loTypeId="urn:microsoft.com/office/officeart/2005/8/layout/vList5" loCatId="list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es-CO"/>
        </a:p>
      </dgm:t>
    </dgm:pt>
    <dgm:pt modelId="{438B4246-39BF-46F0-A2E1-E89E59511B09}">
      <dgm:prSet custT="1"/>
      <dgm:spPr/>
      <dgm:t>
        <a:bodyPr/>
        <a:lstStyle/>
        <a:p>
          <a:pPr algn="l" rtl="0"/>
          <a:r>
            <a:rPr lang="es-CO" sz="2000" smtClean="0"/>
            <a:t>Diagnóstico- Situación actual de la gestión de las SEC sobre ET</a:t>
          </a:r>
          <a:endParaRPr lang="es-CO" sz="2000" dirty="0"/>
        </a:p>
      </dgm:t>
    </dgm:pt>
    <dgm:pt modelId="{B929C664-1808-41FB-83D5-1C2298303FEB}" type="parTrans" cxnId="{35FE29AE-7F0D-4301-AA34-9829B1EE469F}">
      <dgm:prSet/>
      <dgm:spPr/>
      <dgm:t>
        <a:bodyPr/>
        <a:lstStyle/>
        <a:p>
          <a:pPr algn="l"/>
          <a:endParaRPr lang="es-CO" sz="2400">
            <a:solidFill>
              <a:srgbClr val="002060"/>
            </a:solidFill>
          </a:endParaRPr>
        </a:p>
      </dgm:t>
    </dgm:pt>
    <dgm:pt modelId="{3DEA2F08-C4E7-4381-B0A6-A13B47D3469B}" type="sibTrans" cxnId="{35FE29AE-7F0D-4301-AA34-9829B1EE469F}">
      <dgm:prSet/>
      <dgm:spPr/>
      <dgm:t>
        <a:bodyPr/>
        <a:lstStyle/>
        <a:p>
          <a:pPr algn="l"/>
          <a:endParaRPr lang="es-CO" sz="2400">
            <a:solidFill>
              <a:srgbClr val="002060"/>
            </a:solidFill>
          </a:endParaRPr>
        </a:p>
      </dgm:t>
    </dgm:pt>
    <dgm:pt modelId="{96227241-9A34-4429-AEBD-15968B66A4B1}">
      <dgm:prSet custT="1"/>
      <dgm:spPr/>
      <dgm:t>
        <a:bodyPr/>
        <a:lstStyle/>
        <a:p>
          <a:pPr algn="l" rtl="0"/>
          <a:r>
            <a:rPr lang="es-CO" sz="2000" smtClean="0"/>
            <a:t>Deber Ser de las SEC frente a la gestión de la ET</a:t>
          </a:r>
          <a:endParaRPr lang="es-CO" sz="2000" dirty="0"/>
        </a:p>
      </dgm:t>
    </dgm:pt>
    <dgm:pt modelId="{14D0CE95-530F-4157-8876-4F2DE61EDD40}" type="parTrans" cxnId="{D2F1F082-22A8-4F7F-820D-0525C4D27BEC}">
      <dgm:prSet/>
      <dgm:spPr/>
      <dgm:t>
        <a:bodyPr/>
        <a:lstStyle/>
        <a:p>
          <a:pPr algn="l"/>
          <a:endParaRPr lang="es-CO" sz="2400">
            <a:solidFill>
              <a:srgbClr val="002060"/>
            </a:solidFill>
          </a:endParaRPr>
        </a:p>
      </dgm:t>
    </dgm:pt>
    <dgm:pt modelId="{79A47382-3E06-446A-8EAA-17B1FF57332C}" type="sibTrans" cxnId="{D2F1F082-22A8-4F7F-820D-0525C4D27BEC}">
      <dgm:prSet/>
      <dgm:spPr/>
      <dgm:t>
        <a:bodyPr/>
        <a:lstStyle/>
        <a:p>
          <a:pPr algn="l"/>
          <a:endParaRPr lang="es-CO" sz="2400">
            <a:solidFill>
              <a:srgbClr val="002060"/>
            </a:solidFill>
          </a:endParaRPr>
        </a:p>
      </dgm:t>
    </dgm:pt>
    <dgm:pt modelId="{C8D06B52-4941-437E-827D-6BD2FBECAC11}">
      <dgm:prSet custT="1"/>
      <dgm:spPr/>
      <dgm:t>
        <a:bodyPr/>
        <a:lstStyle/>
        <a:p>
          <a:pPr algn="l" rtl="0"/>
          <a:r>
            <a:rPr lang="es-CO" sz="2000" smtClean="0"/>
            <a:t>Identificación de buenas prácticas en gestión de la ET en SEC</a:t>
          </a:r>
          <a:endParaRPr lang="es-CO" sz="2000" dirty="0"/>
        </a:p>
      </dgm:t>
    </dgm:pt>
    <dgm:pt modelId="{283CC8F2-F35F-4981-85A6-AD2480B5739C}" type="parTrans" cxnId="{87E381BB-8BC8-4DF6-AD08-13943D527C09}">
      <dgm:prSet/>
      <dgm:spPr/>
      <dgm:t>
        <a:bodyPr/>
        <a:lstStyle/>
        <a:p>
          <a:pPr algn="l"/>
          <a:endParaRPr lang="es-CO" sz="2400">
            <a:solidFill>
              <a:srgbClr val="002060"/>
            </a:solidFill>
          </a:endParaRPr>
        </a:p>
      </dgm:t>
    </dgm:pt>
    <dgm:pt modelId="{9C791D17-805D-4823-865C-A5CC68263AF6}" type="sibTrans" cxnId="{87E381BB-8BC8-4DF6-AD08-13943D527C09}">
      <dgm:prSet/>
      <dgm:spPr/>
      <dgm:t>
        <a:bodyPr/>
        <a:lstStyle/>
        <a:p>
          <a:pPr algn="l"/>
          <a:endParaRPr lang="es-CO" sz="2400">
            <a:solidFill>
              <a:srgbClr val="002060"/>
            </a:solidFill>
          </a:endParaRPr>
        </a:p>
      </dgm:t>
    </dgm:pt>
    <dgm:pt modelId="{E43D5616-14A5-40CB-9CCA-E177361E3B60}">
      <dgm:prSet custT="1"/>
      <dgm:spPr/>
      <dgm:t>
        <a:bodyPr/>
        <a:lstStyle/>
        <a:p>
          <a:pPr algn="l" rtl="0"/>
          <a:r>
            <a:rPr lang="es-CO" sz="2000" smtClean="0"/>
            <a:t>Propuesta de Modelo de gestión de la ET</a:t>
          </a:r>
          <a:endParaRPr lang="es-CO" sz="2000" dirty="0"/>
        </a:p>
      </dgm:t>
    </dgm:pt>
    <dgm:pt modelId="{9265795F-250D-4D0C-B1B2-47C6A93706D4}" type="parTrans" cxnId="{30AD4910-04B2-483E-A639-FBDFFD553D87}">
      <dgm:prSet/>
      <dgm:spPr/>
      <dgm:t>
        <a:bodyPr/>
        <a:lstStyle/>
        <a:p>
          <a:pPr algn="l"/>
          <a:endParaRPr lang="es-CO" sz="2400">
            <a:solidFill>
              <a:srgbClr val="002060"/>
            </a:solidFill>
          </a:endParaRPr>
        </a:p>
      </dgm:t>
    </dgm:pt>
    <dgm:pt modelId="{3F3757C3-CD7A-4EB6-BB72-38DB4935267F}" type="sibTrans" cxnId="{30AD4910-04B2-483E-A639-FBDFFD553D87}">
      <dgm:prSet/>
      <dgm:spPr/>
      <dgm:t>
        <a:bodyPr/>
        <a:lstStyle/>
        <a:p>
          <a:pPr algn="l"/>
          <a:endParaRPr lang="es-CO" sz="2400">
            <a:solidFill>
              <a:srgbClr val="002060"/>
            </a:solidFill>
          </a:endParaRPr>
        </a:p>
      </dgm:t>
    </dgm:pt>
    <dgm:pt modelId="{142E7C18-B099-4111-B29D-69846309681C}">
      <dgm:prSet custT="1"/>
      <dgm:spPr/>
      <dgm:t>
        <a:bodyPr/>
        <a:lstStyle/>
        <a:p>
          <a:pPr algn="l" rtl="0"/>
          <a:r>
            <a:rPr lang="es-CO" sz="2000" smtClean="0"/>
            <a:t>Fortalezas y debilidades para la aplicación del Modelo propuesto</a:t>
          </a:r>
          <a:endParaRPr lang="es-CO" sz="2000" dirty="0"/>
        </a:p>
      </dgm:t>
    </dgm:pt>
    <dgm:pt modelId="{AC36D55B-AFA3-486A-9054-7B707AA5FB2D}" type="parTrans" cxnId="{D0775562-62BE-4C74-A4C3-C0A4BEF62BE8}">
      <dgm:prSet/>
      <dgm:spPr/>
      <dgm:t>
        <a:bodyPr/>
        <a:lstStyle/>
        <a:p>
          <a:pPr algn="l"/>
          <a:endParaRPr lang="es-CO" sz="2400">
            <a:solidFill>
              <a:srgbClr val="002060"/>
            </a:solidFill>
          </a:endParaRPr>
        </a:p>
      </dgm:t>
    </dgm:pt>
    <dgm:pt modelId="{3E2554C6-C84B-4010-9932-904E1584DB22}" type="sibTrans" cxnId="{D0775562-62BE-4C74-A4C3-C0A4BEF62BE8}">
      <dgm:prSet/>
      <dgm:spPr/>
      <dgm:t>
        <a:bodyPr/>
        <a:lstStyle/>
        <a:p>
          <a:pPr algn="l"/>
          <a:endParaRPr lang="es-CO" sz="2400">
            <a:solidFill>
              <a:srgbClr val="002060"/>
            </a:solidFill>
          </a:endParaRPr>
        </a:p>
      </dgm:t>
    </dgm:pt>
    <dgm:pt modelId="{B7A640D8-DD02-4103-A8AD-CF4BC7210C80}">
      <dgm:prSet custT="1"/>
      <dgm:spPr/>
      <dgm:t>
        <a:bodyPr/>
        <a:lstStyle/>
        <a:p>
          <a:pPr algn="l" rtl="0"/>
          <a:r>
            <a:rPr lang="es-CO" sz="2000" dirty="0" smtClean="0"/>
            <a:t>Análisis de la normatividad vigente en relación con la gestión de la ET </a:t>
          </a:r>
          <a:endParaRPr lang="es-CO" sz="2000" b="0" dirty="0"/>
        </a:p>
      </dgm:t>
    </dgm:pt>
    <dgm:pt modelId="{D982B374-5656-426D-8069-8CE5667BE635}" type="parTrans" cxnId="{3BEBB2FF-7FB6-49F1-AC1B-08B43516694A}">
      <dgm:prSet/>
      <dgm:spPr/>
      <dgm:t>
        <a:bodyPr/>
        <a:lstStyle/>
        <a:p>
          <a:pPr algn="l"/>
          <a:endParaRPr lang="es-CO" sz="2400">
            <a:solidFill>
              <a:srgbClr val="002060"/>
            </a:solidFill>
          </a:endParaRPr>
        </a:p>
      </dgm:t>
    </dgm:pt>
    <dgm:pt modelId="{71E92A48-94D4-4F47-B7F9-334B65DB0BE0}" type="sibTrans" cxnId="{3BEBB2FF-7FB6-49F1-AC1B-08B43516694A}">
      <dgm:prSet/>
      <dgm:spPr/>
      <dgm:t>
        <a:bodyPr/>
        <a:lstStyle/>
        <a:p>
          <a:pPr algn="l"/>
          <a:endParaRPr lang="es-CO" sz="2400">
            <a:solidFill>
              <a:srgbClr val="002060"/>
            </a:solidFill>
          </a:endParaRPr>
        </a:p>
      </dgm:t>
    </dgm:pt>
    <dgm:pt modelId="{D1561B6A-D6D6-42B6-B32B-8D8CDE8068CF}">
      <dgm:prSet custT="1"/>
      <dgm:spPr/>
      <dgm:t>
        <a:bodyPr/>
        <a:lstStyle/>
        <a:p>
          <a:pPr algn="l" rtl="0"/>
          <a:r>
            <a:rPr lang="es-CO" sz="2000" dirty="0" smtClean="0"/>
            <a:t>Propuesta de ajuste normativo</a:t>
          </a:r>
          <a:endParaRPr lang="es-CO" sz="2000" dirty="0"/>
        </a:p>
      </dgm:t>
    </dgm:pt>
    <dgm:pt modelId="{8483FBD4-258E-48E8-9EE2-4326D91FF7D2}" type="parTrans" cxnId="{E44066B6-88A4-48D2-A235-56A461FBF3AC}">
      <dgm:prSet/>
      <dgm:spPr/>
      <dgm:t>
        <a:bodyPr/>
        <a:lstStyle/>
        <a:p>
          <a:pPr algn="l"/>
          <a:endParaRPr lang="es-CO" sz="2400">
            <a:solidFill>
              <a:srgbClr val="002060"/>
            </a:solidFill>
          </a:endParaRPr>
        </a:p>
      </dgm:t>
    </dgm:pt>
    <dgm:pt modelId="{0F042C60-F3F3-47E2-A0BB-8A6BE87FE36F}" type="sibTrans" cxnId="{E44066B6-88A4-48D2-A235-56A461FBF3AC}">
      <dgm:prSet/>
      <dgm:spPr/>
      <dgm:t>
        <a:bodyPr/>
        <a:lstStyle/>
        <a:p>
          <a:pPr algn="l"/>
          <a:endParaRPr lang="es-CO" sz="2400">
            <a:solidFill>
              <a:srgbClr val="002060"/>
            </a:solidFill>
          </a:endParaRPr>
        </a:p>
      </dgm:t>
    </dgm:pt>
    <dgm:pt modelId="{ED550D76-4703-4DC3-8651-D3D41D29137C}" type="pres">
      <dgm:prSet presAssocID="{BB6B39BC-32D5-4C5F-A08E-293FDA8A0BE0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ES"/>
        </a:p>
      </dgm:t>
    </dgm:pt>
    <dgm:pt modelId="{D0A69241-0B61-4F81-8F66-95414B388D23}" type="pres">
      <dgm:prSet presAssocID="{438B4246-39BF-46F0-A2E1-E89E59511B09}" presName="linNode" presStyleCnt="0"/>
      <dgm:spPr/>
      <dgm:t>
        <a:bodyPr/>
        <a:lstStyle/>
        <a:p>
          <a:endParaRPr lang="es-CO"/>
        </a:p>
      </dgm:t>
    </dgm:pt>
    <dgm:pt modelId="{D8E250E7-B875-409E-BB2E-29F7277DA514}" type="pres">
      <dgm:prSet presAssocID="{438B4246-39BF-46F0-A2E1-E89E59511B09}" presName="parentText" presStyleLbl="node1" presStyleIdx="0" presStyleCnt="7" custScaleX="226471">
        <dgm:presLayoutVars>
          <dgm:chMax val="1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A4120C7D-1C14-4859-9CAA-39568AC9BF65}" type="pres">
      <dgm:prSet presAssocID="{3DEA2F08-C4E7-4381-B0A6-A13B47D3469B}" presName="sp" presStyleCnt="0"/>
      <dgm:spPr/>
      <dgm:t>
        <a:bodyPr/>
        <a:lstStyle/>
        <a:p>
          <a:endParaRPr lang="es-CO"/>
        </a:p>
      </dgm:t>
    </dgm:pt>
    <dgm:pt modelId="{72C0220F-EC4D-42D5-8F37-FD460BFB1C66}" type="pres">
      <dgm:prSet presAssocID="{96227241-9A34-4429-AEBD-15968B66A4B1}" presName="linNode" presStyleCnt="0"/>
      <dgm:spPr/>
      <dgm:t>
        <a:bodyPr/>
        <a:lstStyle/>
        <a:p>
          <a:endParaRPr lang="es-CO"/>
        </a:p>
      </dgm:t>
    </dgm:pt>
    <dgm:pt modelId="{873D4A6C-9A76-42AC-90D9-988ED1A9851E}" type="pres">
      <dgm:prSet presAssocID="{96227241-9A34-4429-AEBD-15968B66A4B1}" presName="parentText" presStyleLbl="node1" presStyleIdx="1" presStyleCnt="7" custScaleX="227891">
        <dgm:presLayoutVars>
          <dgm:chMax val="1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4D3A1F33-0C42-4934-82C2-86AA9D6560BD}" type="pres">
      <dgm:prSet presAssocID="{79A47382-3E06-446A-8EAA-17B1FF57332C}" presName="sp" presStyleCnt="0"/>
      <dgm:spPr/>
      <dgm:t>
        <a:bodyPr/>
        <a:lstStyle/>
        <a:p>
          <a:endParaRPr lang="es-CO"/>
        </a:p>
      </dgm:t>
    </dgm:pt>
    <dgm:pt modelId="{3950F218-45CF-4C1E-8CF5-47ECBA635A18}" type="pres">
      <dgm:prSet presAssocID="{C8D06B52-4941-437E-827D-6BD2FBECAC11}" presName="linNode" presStyleCnt="0"/>
      <dgm:spPr/>
      <dgm:t>
        <a:bodyPr/>
        <a:lstStyle/>
        <a:p>
          <a:endParaRPr lang="es-CO"/>
        </a:p>
      </dgm:t>
    </dgm:pt>
    <dgm:pt modelId="{A3324FF4-D498-4F95-B215-22839186CD67}" type="pres">
      <dgm:prSet presAssocID="{C8D06B52-4941-437E-827D-6BD2FBECAC11}" presName="parentText" presStyleLbl="node1" presStyleIdx="2" presStyleCnt="7" custScaleX="227891">
        <dgm:presLayoutVars>
          <dgm:chMax val="1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0B9E49EE-BB62-4405-84E6-D6AFB62E5171}" type="pres">
      <dgm:prSet presAssocID="{9C791D17-805D-4823-865C-A5CC68263AF6}" presName="sp" presStyleCnt="0"/>
      <dgm:spPr/>
      <dgm:t>
        <a:bodyPr/>
        <a:lstStyle/>
        <a:p>
          <a:endParaRPr lang="es-CO"/>
        </a:p>
      </dgm:t>
    </dgm:pt>
    <dgm:pt modelId="{4AC47239-F5AC-4D23-BC22-AE78397A64A7}" type="pres">
      <dgm:prSet presAssocID="{E43D5616-14A5-40CB-9CCA-E177361E3B60}" presName="linNode" presStyleCnt="0"/>
      <dgm:spPr/>
      <dgm:t>
        <a:bodyPr/>
        <a:lstStyle/>
        <a:p>
          <a:endParaRPr lang="es-CO"/>
        </a:p>
      </dgm:t>
    </dgm:pt>
    <dgm:pt modelId="{9A73934C-AB90-436D-8A71-A33338737B5D}" type="pres">
      <dgm:prSet presAssocID="{E43D5616-14A5-40CB-9CCA-E177361E3B60}" presName="parentText" presStyleLbl="node1" presStyleIdx="3" presStyleCnt="7" custScaleX="227891">
        <dgm:presLayoutVars>
          <dgm:chMax val="1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7780E100-8EE0-40E7-872E-948B5CC6B845}" type="pres">
      <dgm:prSet presAssocID="{3F3757C3-CD7A-4EB6-BB72-38DB4935267F}" presName="sp" presStyleCnt="0"/>
      <dgm:spPr/>
      <dgm:t>
        <a:bodyPr/>
        <a:lstStyle/>
        <a:p>
          <a:endParaRPr lang="es-CO"/>
        </a:p>
      </dgm:t>
    </dgm:pt>
    <dgm:pt modelId="{A6B3773D-E08A-47A2-9759-BDC25D65FD41}" type="pres">
      <dgm:prSet presAssocID="{142E7C18-B099-4111-B29D-69846309681C}" presName="linNode" presStyleCnt="0"/>
      <dgm:spPr/>
      <dgm:t>
        <a:bodyPr/>
        <a:lstStyle/>
        <a:p>
          <a:endParaRPr lang="es-CO"/>
        </a:p>
      </dgm:t>
    </dgm:pt>
    <dgm:pt modelId="{AAD9DB02-5E82-4A00-A995-1F3F1978B022}" type="pres">
      <dgm:prSet presAssocID="{142E7C18-B099-4111-B29D-69846309681C}" presName="parentText" presStyleLbl="node1" presStyleIdx="4" presStyleCnt="7" custScaleX="227891">
        <dgm:presLayoutVars>
          <dgm:chMax val="1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5A83A754-79E3-44FF-BB77-6ECC27C1B16B}" type="pres">
      <dgm:prSet presAssocID="{3E2554C6-C84B-4010-9932-904E1584DB22}" presName="sp" presStyleCnt="0"/>
      <dgm:spPr/>
      <dgm:t>
        <a:bodyPr/>
        <a:lstStyle/>
        <a:p>
          <a:endParaRPr lang="es-CO"/>
        </a:p>
      </dgm:t>
    </dgm:pt>
    <dgm:pt modelId="{8E4BF9F6-FDCD-41BB-B450-4EA30D966E82}" type="pres">
      <dgm:prSet presAssocID="{B7A640D8-DD02-4103-A8AD-CF4BC7210C80}" presName="linNode" presStyleCnt="0"/>
      <dgm:spPr/>
      <dgm:t>
        <a:bodyPr/>
        <a:lstStyle/>
        <a:p>
          <a:endParaRPr lang="es-CO"/>
        </a:p>
      </dgm:t>
    </dgm:pt>
    <dgm:pt modelId="{675632B2-662F-4E01-9AA4-1FD0756887D1}" type="pres">
      <dgm:prSet presAssocID="{B7A640D8-DD02-4103-A8AD-CF4BC7210C80}" presName="parentText" presStyleLbl="node1" presStyleIdx="5" presStyleCnt="7" custScaleX="227891">
        <dgm:presLayoutVars>
          <dgm:chMax val="1"/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0196B9F7-9E90-445A-BC3F-471B167696A0}" type="pres">
      <dgm:prSet presAssocID="{71E92A48-94D4-4F47-B7F9-334B65DB0BE0}" presName="sp" presStyleCnt="0"/>
      <dgm:spPr/>
      <dgm:t>
        <a:bodyPr/>
        <a:lstStyle/>
        <a:p>
          <a:endParaRPr lang="es-CO"/>
        </a:p>
      </dgm:t>
    </dgm:pt>
    <dgm:pt modelId="{AC254EDE-2094-4E07-8EBD-957A73CD6A1C}" type="pres">
      <dgm:prSet presAssocID="{D1561B6A-D6D6-42B6-B32B-8D8CDE8068CF}" presName="linNode" presStyleCnt="0"/>
      <dgm:spPr/>
      <dgm:t>
        <a:bodyPr/>
        <a:lstStyle/>
        <a:p>
          <a:endParaRPr lang="es-CO"/>
        </a:p>
      </dgm:t>
    </dgm:pt>
    <dgm:pt modelId="{4350A3B7-E0C9-4F73-9C5D-53FAF916E882}" type="pres">
      <dgm:prSet presAssocID="{D1561B6A-D6D6-42B6-B32B-8D8CDE8068CF}" presName="parentText" presStyleLbl="node1" presStyleIdx="6" presStyleCnt="7" custScaleX="227891">
        <dgm:presLayoutVars>
          <dgm:chMax val="1"/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181D5FEE-B437-4BA1-8BD9-4B818B140304}" type="presOf" srcId="{96227241-9A34-4429-AEBD-15968B66A4B1}" destId="{873D4A6C-9A76-42AC-90D9-988ED1A9851E}" srcOrd="0" destOrd="0" presId="urn:microsoft.com/office/officeart/2005/8/layout/vList5"/>
    <dgm:cxn modelId="{62881085-DFE6-4941-B84A-8A19F0C11B1C}" type="presOf" srcId="{BB6B39BC-32D5-4C5F-A08E-293FDA8A0BE0}" destId="{ED550D76-4703-4DC3-8651-D3D41D29137C}" srcOrd="0" destOrd="0" presId="urn:microsoft.com/office/officeart/2005/8/layout/vList5"/>
    <dgm:cxn modelId="{91A6B729-DB57-4BBE-87AE-F7062533DA1D}" type="presOf" srcId="{B7A640D8-DD02-4103-A8AD-CF4BC7210C80}" destId="{675632B2-662F-4E01-9AA4-1FD0756887D1}" srcOrd="0" destOrd="0" presId="urn:microsoft.com/office/officeart/2005/8/layout/vList5"/>
    <dgm:cxn modelId="{87E381BB-8BC8-4DF6-AD08-13943D527C09}" srcId="{BB6B39BC-32D5-4C5F-A08E-293FDA8A0BE0}" destId="{C8D06B52-4941-437E-827D-6BD2FBECAC11}" srcOrd="2" destOrd="0" parTransId="{283CC8F2-F35F-4981-85A6-AD2480B5739C}" sibTransId="{9C791D17-805D-4823-865C-A5CC68263AF6}"/>
    <dgm:cxn modelId="{0D9E0AB8-848E-458C-B978-C3542E77309C}" type="presOf" srcId="{E43D5616-14A5-40CB-9CCA-E177361E3B60}" destId="{9A73934C-AB90-436D-8A71-A33338737B5D}" srcOrd="0" destOrd="0" presId="urn:microsoft.com/office/officeart/2005/8/layout/vList5"/>
    <dgm:cxn modelId="{E44066B6-88A4-48D2-A235-56A461FBF3AC}" srcId="{BB6B39BC-32D5-4C5F-A08E-293FDA8A0BE0}" destId="{D1561B6A-D6D6-42B6-B32B-8D8CDE8068CF}" srcOrd="6" destOrd="0" parTransId="{8483FBD4-258E-48E8-9EE2-4326D91FF7D2}" sibTransId="{0F042C60-F3F3-47E2-A0BB-8A6BE87FE36F}"/>
    <dgm:cxn modelId="{35FE29AE-7F0D-4301-AA34-9829B1EE469F}" srcId="{BB6B39BC-32D5-4C5F-A08E-293FDA8A0BE0}" destId="{438B4246-39BF-46F0-A2E1-E89E59511B09}" srcOrd="0" destOrd="0" parTransId="{B929C664-1808-41FB-83D5-1C2298303FEB}" sibTransId="{3DEA2F08-C4E7-4381-B0A6-A13B47D3469B}"/>
    <dgm:cxn modelId="{00A17D34-BF46-4ED5-9A3C-09F74751A365}" type="presOf" srcId="{438B4246-39BF-46F0-A2E1-E89E59511B09}" destId="{D8E250E7-B875-409E-BB2E-29F7277DA514}" srcOrd="0" destOrd="0" presId="urn:microsoft.com/office/officeart/2005/8/layout/vList5"/>
    <dgm:cxn modelId="{D2F1F082-22A8-4F7F-820D-0525C4D27BEC}" srcId="{BB6B39BC-32D5-4C5F-A08E-293FDA8A0BE0}" destId="{96227241-9A34-4429-AEBD-15968B66A4B1}" srcOrd="1" destOrd="0" parTransId="{14D0CE95-530F-4157-8876-4F2DE61EDD40}" sibTransId="{79A47382-3E06-446A-8EAA-17B1FF57332C}"/>
    <dgm:cxn modelId="{08D33804-B118-4E3F-819C-032C5F477412}" type="presOf" srcId="{142E7C18-B099-4111-B29D-69846309681C}" destId="{AAD9DB02-5E82-4A00-A995-1F3F1978B022}" srcOrd="0" destOrd="0" presId="urn:microsoft.com/office/officeart/2005/8/layout/vList5"/>
    <dgm:cxn modelId="{D0775562-62BE-4C74-A4C3-C0A4BEF62BE8}" srcId="{BB6B39BC-32D5-4C5F-A08E-293FDA8A0BE0}" destId="{142E7C18-B099-4111-B29D-69846309681C}" srcOrd="4" destOrd="0" parTransId="{AC36D55B-AFA3-486A-9054-7B707AA5FB2D}" sibTransId="{3E2554C6-C84B-4010-9932-904E1584DB22}"/>
    <dgm:cxn modelId="{05C2E426-C442-47FB-A001-1D459E23FC3A}" type="presOf" srcId="{D1561B6A-D6D6-42B6-B32B-8D8CDE8068CF}" destId="{4350A3B7-E0C9-4F73-9C5D-53FAF916E882}" srcOrd="0" destOrd="0" presId="urn:microsoft.com/office/officeart/2005/8/layout/vList5"/>
    <dgm:cxn modelId="{E8CA2286-D4A1-469C-B049-CB8E9CC10F9A}" type="presOf" srcId="{C8D06B52-4941-437E-827D-6BD2FBECAC11}" destId="{A3324FF4-D498-4F95-B215-22839186CD67}" srcOrd="0" destOrd="0" presId="urn:microsoft.com/office/officeart/2005/8/layout/vList5"/>
    <dgm:cxn modelId="{3BEBB2FF-7FB6-49F1-AC1B-08B43516694A}" srcId="{BB6B39BC-32D5-4C5F-A08E-293FDA8A0BE0}" destId="{B7A640D8-DD02-4103-A8AD-CF4BC7210C80}" srcOrd="5" destOrd="0" parTransId="{D982B374-5656-426D-8069-8CE5667BE635}" sibTransId="{71E92A48-94D4-4F47-B7F9-334B65DB0BE0}"/>
    <dgm:cxn modelId="{30AD4910-04B2-483E-A639-FBDFFD553D87}" srcId="{BB6B39BC-32D5-4C5F-A08E-293FDA8A0BE0}" destId="{E43D5616-14A5-40CB-9CCA-E177361E3B60}" srcOrd="3" destOrd="0" parTransId="{9265795F-250D-4D0C-B1B2-47C6A93706D4}" sibTransId="{3F3757C3-CD7A-4EB6-BB72-38DB4935267F}"/>
    <dgm:cxn modelId="{6D02CC58-FDC1-4DC2-9B81-C936A2998B50}" type="presParOf" srcId="{ED550D76-4703-4DC3-8651-D3D41D29137C}" destId="{D0A69241-0B61-4F81-8F66-95414B388D23}" srcOrd="0" destOrd="0" presId="urn:microsoft.com/office/officeart/2005/8/layout/vList5"/>
    <dgm:cxn modelId="{8DDF12EE-3FB4-4B54-B0A6-A396E6F4FFD0}" type="presParOf" srcId="{D0A69241-0B61-4F81-8F66-95414B388D23}" destId="{D8E250E7-B875-409E-BB2E-29F7277DA514}" srcOrd="0" destOrd="0" presId="urn:microsoft.com/office/officeart/2005/8/layout/vList5"/>
    <dgm:cxn modelId="{CAE955B9-5D2B-4AD3-8179-2034FDD11FB7}" type="presParOf" srcId="{ED550D76-4703-4DC3-8651-D3D41D29137C}" destId="{A4120C7D-1C14-4859-9CAA-39568AC9BF65}" srcOrd="1" destOrd="0" presId="urn:microsoft.com/office/officeart/2005/8/layout/vList5"/>
    <dgm:cxn modelId="{4A2D007D-DEE2-4955-B2A1-DE42EFF39AC5}" type="presParOf" srcId="{ED550D76-4703-4DC3-8651-D3D41D29137C}" destId="{72C0220F-EC4D-42D5-8F37-FD460BFB1C66}" srcOrd="2" destOrd="0" presId="urn:microsoft.com/office/officeart/2005/8/layout/vList5"/>
    <dgm:cxn modelId="{E4CD5128-BE92-41D4-ADEA-9B23ADA9D0EE}" type="presParOf" srcId="{72C0220F-EC4D-42D5-8F37-FD460BFB1C66}" destId="{873D4A6C-9A76-42AC-90D9-988ED1A9851E}" srcOrd="0" destOrd="0" presId="urn:microsoft.com/office/officeart/2005/8/layout/vList5"/>
    <dgm:cxn modelId="{0576907F-4401-4508-9401-8066085CB19A}" type="presParOf" srcId="{ED550D76-4703-4DC3-8651-D3D41D29137C}" destId="{4D3A1F33-0C42-4934-82C2-86AA9D6560BD}" srcOrd="3" destOrd="0" presId="urn:microsoft.com/office/officeart/2005/8/layout/vList5"/>
    <dgm:cxn modelId="{BB5A1CD1-22D6-46A1-928F-D036EA4CB044}" type="presParOf" srcId="{ED550D76-4703-4DC3-8651-D3D41D29137C}" destId="{3950F218-45CF-4C1E-8CF5-47ECBA635A18}" srcOrd="4" destOrd="0" presId="urn:microsoft.com/office/officeart/2005/8/layout/vList5"/>
    <dgm:cxn modelId="{294BAADD-0B84-4067-A4CA-7A85C54AAB8E}" type="presParOf" srcId="{3950F218-45CF-4C1E-8CF5-47ECBA635A18}" destId="{A3324FF4-D498-4F95-B215-22839186CD67}" srcOrd="0" destOrd="0" presId="urn:microsoft.com/office/officeart/2005/8/layout/vList5"/>
    <dgm:cxn modelId="{156952FF-01B9-42DA-B7B1-4A3D6E39DC5B}" type="presParOf" srcId="{ED550D76-4703-4DC3-8651-D3D41D29137C}" destId="{0B9E49EE-BB62-4405-84E6-D6AFB62E5171}" srcOrd="5" destOrd="0" presId="urn:microsoft.com/office/officeart/2005/8/layout/vList5"/>
    <dgm:cxn modelId="{632E416F-D99D-45D3-9FA3-926D66F0F703}" type="presParOf" srcId="{ED550D76-4703-4DC3-8651-D3D41D29137C}" destId="{4AC47239-F5AC-4D23-BC22-AE78397A64A7}" srcOrd="6" destOrd="0" presId="urn:microsoft.com/office/officeart/2005/8/layout/vList5"/>
    <dgm:cxn modelId="{B236C4AD-549A-43BF-89EF-596DB33732B6}" type="presParOf" srcId="{4AC47239-F5AC-4D23-BC22-AE78397A64A7}" destId="{9A73934C-AB90-436D-8A71-A33338737B5D}" srcOrd="0" destOrd="0" presId="urn:microsoft.com/office/officeart/2005/8/layout/vList5"/>
    <dgm:cxn modelId="{81690794-E010-4502-A037-657A6EE360E5}" type="presParOf" srcId="{ED550D76-4703-4DC3-8651-D3D41D29137C}" destId="{7780E100-8EE0-40E7-872E-948B5CC6B845}" srcOrd="7" destOrd="0" presId="urn:microsoft.com/office/officeart/2005/8/layout/vList5"/>
    <dgm:cxn modelId="{358B3266-E783-4850-9747-F68C74D008A0}" type="presParOf" srcId="{ED550D76-4703-4DC3-8651-D3D41D29137C}" destId="{A6B3773D-E08A-47A2-9759-BDC25D65FD41}" srcOrd="8" destOrd="0" presId="urn:microsoft.com/office/officeart/2005/8/layout/vList5"/>
    <dgm:cxn modelId="{C5E85178-1BCD-4349-B30F-F3198202E290}" type="presParOf" srcId="{A6B3773D-E08A-47A2-9759-BDC25D65FD41}" destId="{AAD9DB02-5E82-4A00-A995-1F3F1978B022}" srcOrd="0" destOrd="0" presId="urn:microsoft.com/office/officeart/2005/8/layout/vList5"/>
    <dgm:cxn modelId="{82654F64-9D6B-4889-BE0E-2607083D40C7}" type="presParOf" srcId="{ED550D76-4703-4DC3-8651-D3D41D29137C}" destId="{5A83A754-79E3-44FF-BB77-6ECC27C1B16B}" srcOrd="9" destOrd="0" presId="urn:microsoft.com/office/officeart/2005/8/layout/vList5"/>
    <dgm:cxn modelId="{9F276EDA-1A31-4B13-8239-563C226FBA23}" type="presParOf" srcId="{ED550D76-4703-4DC3-8651-D3D41D29137C}" destId="{8E4BF9F6-FDCD-41BB-B450-4EA30D966E82}" srcOrd="10" destOrd="0" presId="urn:microsoft.com/office/officeart/2005/8/layout/vList5"/>
    <dgm:cxn modelId="{DED8AA82-56FE-472E-909E-773DFD2B5F6F}" type="presParOf" srcId="{8E4BF9F6-FDCD-41BB-B450-4EA30D966E82}" destId="{675632B2-662F-4E01-9AA4-1FD0756887D1}" srcOrd="0" destOrd="0" presId="urn:microsoft.com/office/officeart/2005/8/layout/vList5"/>
    <dgm:cxn modelId="{79AB1D40-833C-40B0-A48E-50606E7598F8}" type="presParOf" srcId="{ED550D76-4703-4DC3-8651-D3D41D29137C}" destId="{0196B9F7-9E90-445A-BC3F-471B167696A0}" srcOrd="11" destOrd="0" presId="urn:microsoft.com/office/officeart/2005/8/layout/vList5"/>
    <dgm:cxn modelId="{853BE403-6FCC-4341-831E-848F330003B4}" type="presParOf" srcId="{ED550D76-4703-4DC3-8651-D3D41D29137C}" destId="{AC254EDE-2094-4E07-8EBD-957A73CD6A1C}" srcOrd="12" destOrd="0" presId="urn:microsoft.com/office/officeart/2005/8/layout/vList5"/>
    <dgm:cxn modelId="{66D4D897-A90B-46BB-9093-06AFBB05BB1C}" type="presParOf" srcId="{AC254EDE-2094-4E07-8EBD-957A73CD6A1C}" destId="{4350A3B7-E0C9-4F73-9C5D-53FAF916E882}" srcOrd="0" destOrd="0" presId="urn:microsoft.com/office/officeart/2005/8/layout/vList5"/>
  </dgm:cxnLst>
  <dgm:bg>
    <a:solidFill>
      <a:schemeClr val="bg1"/>
    </a:solidFill>
  </dgm:bg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17.xml><?xml version="1.0" encoding="utf-8"?>
<dgm:dataModel xmlns:dgm="http://schemas.openxmlformats.org/drawingml/2006/diagram" xmlns:a="http://schemas.openxmlformats.org/drawingml/2006/main">
  <dgm:ptLst>
    <dgm:pt modelId="{B07D729A-E79E-4B9B-9429-A659127AC04E}" type="doc">
      <dgm:prSet loTypeId="urn:microsoft.com/office/officeart/2005/8/layout/hierarchy3" loCatId="hierarchy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es-CO"/>
        </a:p>
      </dgm:t>
    </dgm:pt>
    <dgm:pt modelId="{CA6AF0B0-7136-4F5D-A4F6-01F65BB8153B}">
      <dgm:prSet custT="1"/>
      <dgm:spPr/>
      <dgm:t>
        <a:bodyPr/>
        <a:lstStyle/>
        <a:p>
          <a:pPr algn="just" rtl="0"/>
          <a:r>
            <a:rPr lang="es-CO" sz="3600" dirty="0" smtClean="0"/>
            <a:t>El deber ser de la educación para el trabajo bajo la estructura de un modelo de gestión, debe partir de una amplia capacitación e integración entre las diversas entidades e instituciones de formación y las autoridades educativas respectivas.</a:t>
          </a:r>
          <a:endParaRPr lang="es-CO" sz="3600" dirty="0"/>
        </a:p>
      </dgm:t>
    </dgm:pt>
    <dgm:pt modelId="{158A8AF1-3CDE-46EC-8ADF-E502013AD82E}" type="parTrans" cxnId="{89E3743E-ABE7-4B2D-AEA2-0B58EA138FEB}">
      <dgm:prSet/>
      <dgm:spPr/>
      <dgm:t>
        <a:bodyPr/>
        <a:lstStyle/>
        <a:p>
          <a:endParaRPr lang="es-CO" sz="3200"/>
        </a:p>
      </dgm:t>
    </dgm:pt>
    <dgm:pt modelId="{036C33E3-7641-4B7D-80C8-1E1DBF1BE2A2}" type="sibTrans" cxnId="{89E3743E-ABE7-4B2D-AEA2-0B58EA138FEB}">
      <dgm:prSet/>
      <dgm:spPr/>
      <dgm:t>
        <a:bodyPr/>
        <a:lstStyle/>
        <a:p>
          <a:endParaRPr lang="es-CO" sz="3200"/>
        </a:p>
      </dgm:t>
    </dgm:pt>
    <dgm:pt modelId="{47ED3950-8534-41E5-B20C-C3F1FDA235F0}" type="pres">
      <dgm:prSet presAssocID="{B07D729A-E79E-4B9B-9429-A659127AC04E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s-ES"/>
        </a:p>
      </dgm:t>
    </dgm:pt>
    <dgm:pt modelId="{F1C0745F-D799-4BF6-9B01-00659B6CA57F}" type="pres">
      <dgm:prSet presAssocID="{CA6AF0B0-7136-4F5D-A4F6-01F65BB8153B}" presName="root" presStyleCnt="0"/>
      <dgm:spPr/>
      <dgm:t>
        <a:bodyPr/>
        <a:lstStyle/>
        <a:p>
          <a:endParaRPr lang="es-CO"/>
        </a:p>
      </dgm:t>
    </dgm:pt>
    <dgm:pt modelId="{8894CBC6-7D66-4493-9055-1D6DCF794854}" type="pres">
      <dgm:prSet presAssocID="{CA6AF0B0-7136-4F5D-A4F6-01F65BB8153B}" presName="rootComposite" presStyleCnt="0"/>
      <dgm:spPr/>
      <dgm:t>
        <a:bodyPr/>
        <a:lstStyle/>
        <a:p>
          <a:endParaRPr lang="es-CO"/>
        </a:p>
      </dgm:t>
    </dgm:pt>
    <dgm:pt modelId="{00607005-717C-481C-8919-860A024D6BBF}" type="pres">
      <dgm:prSet presAssocID="{CA6AF0B0-7136-4F5D-A4F6-01F65BB8153B}" presName="rootText" presStyleLbl="node1" presStyleIdx="0" presStyleCnt="1" custScaleX="122039"/>
      <dgm:spPr/>
      <dgm:t>
        <a:bodyPr/>
        <a:lstStyle/>
        <a:p>
          <a:endParaRPr lang="es-ES"/>
        </a:p>
      </dgm:t>
    </dgm:pt>
    <dgm:pt modelId="{5EBC8512-8744-4010-9FA9-A1FC20955D0A}" type="pres">
      <dgm:prSet presAssocID="{CA6AF0B0-7136-4F5D-A4F6-01F65BB8153B}" presName="rootConnector" presStyleLbl="node1" presStyleIdx="0" presStyleCnt="1"/>
      <dgm:spPr/>
      <dgm:t>
        <a:bodyPr/>
        <a:lstStyle/>
        <a:p>
          <a:endParaRPr lang="es-ES"/>
        </a:p>
      </dgm:t>
    </dgm:pt>
    <dgm:pt modelId="{00C68737-1F67-470A-B1ED-43723AC2F534}" type="pres">
      <dgm:prSet presAssocID="{CA6AF0B0-7136-4F5D-A4F6-01F65BB8153B}" presName="childShape" presStyleCnt="0"/>
      <dgm:spPr/>
      <dgm:t>
        <a:bodyPr/>
        <a:lstStyle/>
        <a:p>
          <a:endParaRPr lang="es-CO"/>
        </a:p>
      </dgm:t>
    </dgm:pt>
  </dgm:ptLst>
  <dgm:cxnLst>
    <dgm:cxn modelId="{31A81E2E-8F01-4FC8-B176-426A47F6A967}" type="presOf" srcId="{CA6AF0B0-7136-4F5D-A4F6-01F65BB8153B}" destId="{00607005-717C-481C-8919-860A024D6BBF}" srcOrd="0" destOrd="0" presId="urn:microsoft.com/office/officeart/2005/8/layout/hierarchy3"/>
    <dgm:cxn modelId="{89E3743E-ABE7-4B2D-AEA2-0B58EA138FEB}" srcId="{B07D729A-E79E-4B9B-9429-A659127AC04E}" destId="{CA6AF0B0-7136-4F5D-A4F6-01F65BB8153B}" srcOrd="0" destOrd="0" parTransId="{158A8AF1-3CDE-46EC-8ADF-E502013AD82E}" sibTransId="{036C33E3-7641-4B7D-80C8-1E1DBF1BE2A2}"/>
    <dgm:cxn modelId="{21F1CF3B-4978-4A51-B0E1-1E2F7E2F3399}" type="presOf" srcId="{B07D729A-E79E-4B9B-9429-A659127AC04E}" destId="{47ED3950-8534-41E5-B20C-C3F1FDA235F0}" srcOrd="0" destOrd="0" presId="urn:microsoft.com/office/officeart/2005/8/layout/hierarchy3"/>
    <dgm:cxn modelId="{C8BAD871-7C45-4951-9F30-BC7D5A369E49}" type="presOf" srcId="{CA6AF0B0-7136-4F5D-A4F6-01F65BB8153B}" destId="{5EBC8512-8744-4010-9FA9-A1FC20955D0A}" srcOrd="1" destOrd="0" presId="urn:microsoft.com/office/officeart/2005/8/layout/hierarchy3"/>
    <dgm:cxn modelId="{1DFB88DA-79A9-4613-B1A6-418B5A9951C9}" type="presParOf" srcId="{47ED3950-8534-41E5-B20C-C3F1FDA235F0}" destId="{F1C0745F-D799-4BF6-9B01-00659B6CA57F}" srcOrd="0" destOrd="0" presId="urn:microsoft.com/office/officeart/2005/8/layout/hierarchy3"/>
    <dgm:cxn modelId="{8FD2A333-32D5-4E0F-8883-4158EB058E0D}" type="presParOf" srcId="{F1C0745F-D799-4BF6-9B01-00659B6CA57F}" destId="{8894CBC6-7D66-4493-9055-1D6DCF794854}" srcOrd="0" destOrd="0" presId="urn:microsoft.com/office/officeart/2005/8/layout/hierarchy3"/>
    <dgm:cxn modelId="{86B6099A-AE21-4A5E-8F99-CD7A106B97C3}" type="presParOf" srcId="{8894CBC6-7D66-4493-9055-1D6DCF794854}" destId="{00607005-717C-481C-8919-860A024D6BBF}" srcOrd="0" destOrd="0" presId="urn:microsoft.com/office/officeart/2005/8/layout/hierarchy3"/>
    <dgm:cxn modelId="{84B3DD7E-B470-4221-B3B7-FDFF616E93BC}" type="presParOf" srcId="{8894CBC6-7D66-4493-9055-1D6DCF794854}" destId="{5EBC8512-8744-4010-9FA9-A1FC20955D0A}" srcOrd="1" destOrd="0" presId="urn:microsoft.com/office/officeart/2005/8/layout/hierarchy3"/>
    <dgm:cxn modelId="{A895B17B-4D82-43F3-B90F-4F33F61EFC58}" type="presParOf" srcId="{F1C0745F-D799-4BF6-9B01-00659B6CA57F}" destId="{00C68737-1F67-470A-B1ED-43723AC2F534}" srcOrd="1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18.xml><?xml version="1.0" encoding="utf-8"?>
<dgm:dataModel xmlns:dgm="http://schemas.openxmlformats.org/drawingml/2006/diagram" xmlns:a="http://schemas.openxmlformats.org/drawingml/2006/main">
  <dgm:ptLst>
    <dgm:pt modelId="{A47D5FCE-0C5C-4C4E-B2E8-A1CFEBFCE74C}" type="doc">
      <dgm:prSet loTypeId="urn:microsoft.com/office/officeart/2005/8/layout/hierarchy3" loCatId="hierarchy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s-CO"/>
        </a:p>
      </dgm:t>
    </dgm:pt>
    <dgm:pt modelId="{863B78E5-5296-4C0E-9462-9A7587A80596}">
      <dgm:prSet custT="1"/>
      <dgm:spPr/>
      <dgm:t>
        <a:bodyPr/>
        <a:lstStyle/>
        <a:p>
          <a:pPr rtl="0"/>
          <a:r>
            <a:rPr lang="es-CO" sz="1600" dirty="0" smtClean="0"/>
            <a:t>Ejercer una gestión que ayude al cumplimiento de las leyes, reglamentos y demás disposiciones que regulen del servicio público educativo</a:t>
          </a:r>
          <a:endParaRPr lang="es-CO" sz="1600" dirty="0"/>
        </a:p>
      </dgm:t>
    </dgm:pt>
    <dgm:pt modelId="{A38E3F20-E713-4E96-B074-60925F02B993}" type="parTrans" cxnId="{896AFD20-C8B4-47E0-8942-062F166F0F0B}">
      <dgm:prSet/>
      <dgm:spPr/>
      <dgm:t>
        <a:bodyPr/>
        <a:lstStyle/>
        <a:p>
          <a:endParaRPr lang="es-CO"/>
        </a:p>
      </dgm:t>
    </dgm:pt>
    <dgm:pt modelId="{7948FDAF-8186-42E4-BF3C-813BBF360B3C}" type="sibTrans" cxnId="{896AFD20-C8B4-47E0-8942-062F166F0F0B}">
      <dgm:prSet/>
      <dgm:spPr/>
      <dgm:t>
        <a:bodyPr/>
        <a:lstStyle/>
        <a:p>
          <a:endParaRPr lang="es-CO"/>
        </a:p>
      </dgm:t>
    </dgm:pt>
    <dgm:pt modelId="{0BE62B33-3C0B-4818-A2EC-E9DA977CE9A1}">
      <dgm:prSet custT="1"/>
      <dgm:spPr/>
      <dgm:t>
        <a:bodyPr/>
        <a:lstStyle/>
        <a:p>
          <a:pPr rtl="0"/>
          <a:r>
            <a:rPr lang="es-CO" sz="1600" dirty="0" smtClean="0"/>
            <a:t>Inspeccionar, vigilar y controlar la prestación del servicio público educativo</a:t>
          </a:r>
          <a:endParaRPr lang="es-CO" sz="1600" dirty="0"/>
        </a:p>
      </dgm:t>
    </dgm:pt>
    <dgm:pt modelId="{2BE622E1-0B32-4AE2-984D-F35510190BD3}" type="parTrans" cxnId="{D4DEC087-4825-49FC-88DD-33302D049F27}">
      <dgm:prSet/>
      <dgm:spPr/>
      <dgm:t>
        <a:bodyPr/>
        <a:lstStyle/>
        <a:p>
          <a:endParaRPr lang="es-CO"/>
        </a:p>
      </dgm:t>
    </dgm:pt>
    <dgm:pt modelId="{BFA0CD7B-7F15-43CC-AB3A-36814743755B}" type="sibTrans" cxnId="{D4DEC087-4825-49FC-88DD-33302D049F27}">
      <dgm:prSet/>
      <dgm:spPr/>
      <dgm:t>
        <a:bodyPr/>
        <a:lstStyle/>
        <a:p>
          <a:endParaRPr lang="es-CO"/>
        </a:p>
      </dgm:t>
    </dgm:pt>
    <dgm:pt modelId="{37101263-B576-407D-B664-38EF4C9207BE}">
      <dgm:prSet custT="1"/>
      <dgm:spPr/>
      <dgm:t>
        <a:bodyPr/>
        <a:lstStyle/>
        <a:p>
          <a:pPr rtl="0"/>
          <a:r>
            <a:rPr lang="es-CO" sz="1600" dirty="0" smtClean="0"/>
            <a:t>Evaluar los proyectos educativos institucionales y los reglamentos pedagógicos que presten los establecimientos o instituciones educativos</a:t>
          </a:r>
          <a:endParaRPr lang="es-CO" sz="1600" dirty="0"/>
        </a:p>
      </dgm:t>
    </dgm:pt>
    <dgm:pt modelId="{A16230CF-4FCA-4F84-A198-4FF5FA122CD7}" type="parTrans" cxnId="{D562963E-2902-40CF-8C1D-94A30897AD81}">
      <dgm:prSet/>
      <dgm:spPr/>
      <dgm:t>
        <a:bodyPr/>
        <a:lstStyle/>
        <a:p>
          <a:endParaRPr lang="es-CO"/>
        </a:p>
      </dgm:t>
    </dgm:pt>
    <dgm:pt modelId="{FD986510-AAD3-4645-8022-073015D8CD2B}" type="sibTrans" cxnId="{D562963E-2902-40CF-8C1D-94A30897AD81}">
      <dgm:prSet/>
      <dgm:spPr/>
      <dgm:t>
        <a:bodyPr/>
        <a:lstStyle/>
        <a:p>
          <a:endParaRPr lang="es-CO"/>
        </a:p>
      </dgm:t>
    </dgm:pt>
    <dgm:pt modelId="{B1B37224-3C0F-4956-83D2-2C63DB23964D}">
      <dgm:prSet custT="1"/>
      <dgm:spPr/>
      <dgm:t>
        <a:bodyPr/>
        <a:lstStyle/>
        <a:p>
          <a:pPr rtl="0"/>
          <a:r>
            <a:rPr lang="es-ES" sz="1600" dirty="0" smtClean="0"/>
            <a:t>Controlar que las instituciones cumplan con todos los lineamientos que se presentan. </a:t>
          </a:r>
          <a:endParaRPr lang="es-CO" sz="1600" dirty="0"/>
        </a:p>
      </dgm:t>
    </dgm:pt>
    <dgm:pt modelId="{C8E1D68C-A49D-46E3-82D5-FB4167E16ECD}" type="parTrans" cxnId="{0A4309EC-D65A-43BA-BF23-3F13759752CC}">
      <dgm:prSet/>
      <dgm:spPr/>
      <dgm:t>
        <a:bodyPr/>
        <a:lstStyle/>
        <a:p>
          <a:endParaRPr lang="es-CO"/>
        </a:p>
      </dgm:t>
    </dgm:pt>
    <dgm:pt modelId="{66CC07EB-6B46-42AA-8898-06A12502F12E}" type="sibTrans" cxnId="{0A4309EC-D65A-43BA-BF23-3F13759752CC}">
      <dgm:prSet/>
      <dgm:spPr/>
      <dgm:t>
        <a:bodyPr/>
        <a:lstStyle/>
        <a:p>
          <a:endParaRPr lang="es-CO"/>
        </a:p>
      </dgm:t>
    </dgm:pt>
    <dgm:pt modelId="{917FFE70-08A7-42F3-9114-B59AC85F2A97}">
      <dgm:prSet custT="1"/>
      <dgm:spPr/>
      <dgm:t>
        <a:bodyPr/>
        <a:lstStyle/>
        <a:p>
          <a:pPr rtl="0"/>
          <a:r>
            <a:rPr lang="es-ES" sz="1600" dirty="0" smtClean="0"/>
            <a:t>Adaptar y aplicar aspectos de la educación superior que redunden en su gestión, como lo es el de pares académicos para revisar de su área de conocimiento</a:t>
          </a:r>
          <a:endParaRPr lang="es-CO" sz="1600" dirty="0"/>
        </a:p>
      </dgm:t>
    </dgm:pt>
    <dgm:pt modelId="{9B6442D1-9C5B-4CF1-8838-7AD75B764C04}" type="parTrans" cxnId="{91390A74-F183-4631-BAAF-F5A46309770F}">
      <dgm:prSet/>
      <dgm:spPr/>
      <dgm:t>
        <a:bodyPr/>
        <a:lstStyle/>
        <a:p>
          <a:endParaRPr lang="es-CO"/>
        </a:p>
      </dgm:t>
    </dgm:pt>
    <dgm:pt modelId="{CCA1A884-16E9-4234-9FD1-73F4243DF3EB}" type="sibTrans" cxnId="{91390A74-F183-4631-BAAF-F5A46309770F}">
      <dgm:prSet/>
      <dgm:spPr/>
      <dgm:t>
        <a:bodyPr/>
        <a:lstStyle/>
        <a:p>
          <a:endParaRPr lang="es-CO"/>
        </a:p>
      </dgm:t>
    </dgm:pt>
    <dgm:pt modelId="{2917DDB8-8617-4C6D-AEB0-537818F7FCDD}" type="pres">
      <dgm:prSet presAssocID="{A47D5FCE-0C5C-4C4E-B2E8-A1CFEBFCE74C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s-ES"/>
        </a:p>
      </dgm:t>
    </dgm:pt>
    <dgm:pt modelId="{B1431CC7-F413-4070-9BC1-20F04CD71469}" type="pres">
      <dgm:prSet presAssocID="{863B78E5-5296-4C0E-9462-9A7587A80596}" presName="root" presStyleCnt="0"/>
      <dgm:spPr/>
    </dgm:pt>
    <dgm:pt modelId="{E53729E6-EBFF-4C3C-AC8F-C3D5CEC8379C}" type="pres">
      <dgm:prSet presAssocID="{863B78E5-5296-4C0E-9462-9A7587A80596}" presName="rootComposite" presStyleCnt="0"/>
      <dgm:spPr/>
    </dgm:pt>
    <dgm:pt modelId="{03D6B6F6-0F43-4C99-8D6E-17D4C425824B}" type="pres">
      <dgm:prSet presAssocID="{863B78E5-5296-4C0E-9462-9A7587A80596}" presName="rootText" presStyleLbl="node1" presStyleIdx="0" presStyleCnt="5" custScaleY="378277"/>
      <dgm:spPr/>
      <dgm:t>
        <a:bodyPr/>
        <a:lstStyle/>
        <a:p>
          <a:endParaRPr lang="es-ES"/>
        </a:p>
      </dgm:t>
    </dgm:pt>
    <dgm:pt modelId="{C065DCCE-000D-4791-B909-951407E38F93}" type="pres">
      <dgm:prSet presAssocID="{863B78E5-5296-4C0E-9462-9A7587A80596}" presName="rootConnector" presStyleLbl="node1" presStyleIdx="0" presStyleCnt="5"/>
      <dgm:spPr/>
      <dgm:t>
        <a:bodyPr/>
        <a:lstStyle/>
        <a:p>
          <a:endParaRPr lang="es-ES"/>
        </a:p>
      </dgm:t>
    </dgm:pt>
    <dgm:pt modelId="{4DD3A51E-2042-46F4-B601-7F94FD8B32AB}" type="pres">
      <dgm:prSet presAssocID="{863B78E5-5296-4C0E-9462-9A7587A80596}" presName="childShape" presStyleCnt="0"/>
      <dgm:spPr/>
    </dgm:pt>
    <dgm:pt modelId="{B260B530-15E3-4C5F-BE11-ABEA273A085F}" type="pres">
      <dgm:prSet presAssocID="{0BE62B33-3C0B-4818-A2EC-E9DA977CE9A1}" presName="root" presStyleCnt="0"/>
      <dgm:spPr/>
    </dgm:pt>
    <dgm:pt modelId="{84096AF6-9C9A-4748-B205-24A361C4BB05}" type="pres">
      <dgm:prSet presAssocID="{0BE62B33-3C0B-4818-A2EC-E9DA977CE9A1}" presName="rootComposite" presStyleCnt="0"/>
      <dgm:spPr/>
    </dgm:pt>
    <dgm:pt modelId="{0FE1064F-6410-4761-8047-987CA2FB6735}" type="pres">
      <dgm:prSet presAssocID="{0BE62B33-3C0B-4818-A2EC-E9DA977CE9A1}" presName="rootText" presStyleLbl="node1" presStyleIdx="1" presStyleCnt="5" custScaleY="378277"/>
      <dgm:spPr/>
      <dgm:t>
        <a:bodyPr/>
        <a:lstStyle/>
        <a:p>
          <a:endParaRPr lang="es-CO"/>
        </a:p>
      </dgm:t>
    </dgm:pt>
    <dgm:pt modelId="{19BA29CE-CC17-4BFF-B00B-B4F34E30B669}" type="pres">
      <dgm:prSet presAssocID="{0BE62B33-3C0B-4818-A2EC-E9DA977CE9A1}" presName="rootConnector" presStyleLbl="node1" presStyleIdx="1" presStyleCnt="5"/>
      <dgm:spPr/>
      <dgm:t>
        <a:bodyPr/>
        <a:lstStyle/>
        <a:p>
          <a:endParaRPr lang="es-ES"/>
        </a:p>
      </dgm:t>
    </dgm:pt>
    <dgm:pt modelId="{F53B7F5B-EC89-4512-9427-74B9AE025A32}" type="pres">
      <dgm:prSet presAssocID="{0BE62B33-3C0B-4818-A2EC-E9DA977CE9A1}" presName="childShape" presStyleCnt="0"/>
      <dgm:spPr/>
    </dgm:pt>
    <dgm:pt modelId="{7DC6119E-1255-478B-A832-2BEBD6B813B6}" type="pres">
      <dgm:prSet presAssocID="{37101263-B576-407D-B664-38EF4C9207BE}" presName="root" presStyleCnt="0"/>
      <dgm:spPr/>
    </dgm:pt>
    <dgm:pt modelId="{61793856-A045-49F2-95DB-B6CAC19B107C}" type="pres">
      <dgm:prSet presAssocID="{37101263-B576-407D-B664-38EF4C9207BE}" presName="rootComposite" presStyleCnt="0"/>
      <dgm:spPr/>
    </dgm:pt>
    <dgm:pt modelId="{A13CBE09-563D-440B-9EBB-5A9E465855AB}" type="pres">
      <dgm:prSet presAssocID="{37101263-B576-407D-B664-38EF4C9207BE}" presName="rootText" presStyleLbl="node1" presStyleIdx="2" presStyleCnt="5" custScaleY="378277"/>
      <dgm:spPr/>
      <dgm:t>
        <a:bodyPr/>
        <a:lstStyle/>
        <a:p>
          <a:endParaRPr lang="es-CO"/>
        </a:p>
      </dgm:t>
    </dgm:pt>
    <dgm:pt modelId="{B7996721-1F13-4CAE-B462-ABEFEDAD9BD4}" type="pres">
      <dgm:prSet presAssocID="{37101263-B576-407D-B664-38EF4C9207BE}" presName="rootConnector" presStyleLbl="node1" presStyleIdx="2" presStyleCnt="5"/>
      <dgm:spPr/>
      <dgm:t>
        <a:bodyPr/>
        <a:lstStyle/>
        <a:p>
          <a:endParaRPr lang="es-ES"/>
        </a:p>
      </dgm:t>
    </dgm:pt>
    <dgm:pt modelId="{2E7CC819-41C2-44CD-BA8E-05DE4F45D88A}" type="pres">
      <dgm:prSet presAssocID="{37101263-B576-407D-B664-38EF4C9207BE}" presName="childShape" presStyleCnt="0"/>
      <dgm:spPr/>
    </dgm:pt>
    <dgm:pt modelId="{E48C42FB-E67C-46D3-BA6B-3E796D128E6A}" type="pres">
      <dgm:prSet presAssocID="{B1B37224-3C0F-4956-83D2-2C63DB23964D}" presName="root" presStyleCnt="0"/>
      <dgm:spPr/>
    </dgm:pt>
    <dgm:pt modelId="{5DD86A44-052A-4D10-B3E1-4B364E4530BD}" type="pres">
      <dgm:prSet presAssocID="{B1B37224-3C0F-4956-83D2-2C63DB23964D}" presName="rootComposite" presStyleCnt="0"/>
      <dgm:spPr/>
    </dgm:pt>
    <dgm:pt modelId="{6F046F3E-63CC-4D66-BF11-67159E53A19E}" type="pres">
      <dgm:prSet presAssocID="{B1B37224-3C0F-4956-83D2-2C63DB23964D}" presName="rootText" presStyleLbl="node1" presStyleIdx="3" presStyleCnt="5" custScaleY="378277"/>
      <dgm:spPr/>
      <dgm:t>
        <a:bodyPr/>
        <a:lstStyle/>
        <a:p>
          <a:endParaRPr lang="es-ES"/>
        </a:p>
      </dgm:t>
    </dgm:pt>
    <dgm:pt modelId="{F5CE795B-E4BC-4D57-911B-89A8CDCB7562}" type="pres">
      <dgm:prSet presAssocID="{B1B37224-3C0F-4956-83D2-2C63DB23964D}" presName="rootConnector" presStyleLbl="node1" presStyleIdx="3" presStyleCnt="5"/>
      <dgm:spPr/>
      <dgm:t>
        <a:bodyPr/>
        <a:lstStyle/>
        <a:p>
          <a:endParaRPr lang="es-ES"/>
        </a:p>
      </dgm:t>
    </dgm:pt>
    <dgm:pt modelId="{42A946E0-0D16-48D3-BD25-31F5739A62EE}" type="pres">
      <dgm:prSet presAssocID="{B1B37224-3C0F-4956-83D2-2C63DB23964D}" presName="childShape" presStyleCnt="0"/>
      <dgm:spPr/>
    </dgm:pt>
    <dgm:pt modelId="{22586059-83BD-4399-81E3-C12EA0DF2896}" type="pres">
      <dgm:prSet presAssocID="{917FFE70-08A7-42F3-9114-B59AC85F2A97}" presName="root" presStyleCnt="0"/>
      <dgm:spPr/>
    </dgm:pt>
    <dgm:pt modelId="{EE54028A-7392-4943-9815-72E2928EB505}" type="pres">
      <dgm:prSet presAssocID="{917FFE70-08A7-42F3-9114-B59AC85F2A97}" presName="rootComposite" presStyleCnt="0"/>
      <dgm:spPr/>
    </dgm:pt>
    <dgm:pt modelId="{4BCAF03B-4725-4DC4-A76E-9E6AA247E3BD}" type="pres">
      <dgm:prSet presAssocID="{917FFE70-08A7-42F3-9114-B59AC85F2A97}" presName="rootText" presStyleLbl="node1" presStyleIdx="4" presStyleCnt="5" custScaleY="378277"/>
      <dgm:spPr/>
      <dgm:t>
        <a:bodyPr/>
        <a:lstStyle/>
        <a:p>
          <a:endParaRPr lang="es-ES"/>
        </a:p>
      </dgm:t>
    </dgm:pt>
    <dgm:pt modelId="{E21699B3-71F2-4F51-8FB4-EC3E62D3DBED}" type="pres">
      <dgm:prSet presAssocID="{917FFE70-08A7-42F3-9114-B59AC85F2A97}" presName="rootConnector" presStyleLbl="node1" presStyleIdx="4" presStyleCnt="5"/>
      <dgm:spPr/>
      <dgm:t>
        <a:bodyPr/>
        <a:lstStyle/>
        <a:p>
          <a:endParaRPr lang="es-ES"/>
        </a:p>
      </dgm:t>
    </dgm:pt>
    <dgm:pt modelId="{827C5894-6829-4CBA-9B1D-16343080E64B}" type="pres">
      <dgm:prSet presAssocID="{917FFE70-08A7-42F3-9114-B59AC85F2A97}" presName="childShape" presStyleCnt="0"/>
      <dgm:spPr/>
    </dgm:pt>
  </dgm:ptLst>
  <dgm:cxnLst>
    <dgm:cxn modelId="{84F83F86-3DC8-4701-B43E-BFF42009D208}" type="presOf" srcId="{B1B37224-3C0F-4956-83D2-2C63DB23964D}" destId="{F5CE795B-E4BC-4D57-911B-89A8CDCB7562}" srcOrd="1" destOrd="0" presId="urn:microsoft.com/office/officeart/2005/8/layout/hierarchy3"/>
    <dgm:cxn modelId="{3E630AA9-0C5B-4A6C-BC2D-DE9C17C148B2}" type="presOf" srcId="{0BE62B33-3C0B-4818-A2EC-E9DA977CE9A1}" destId="{19BA29CE-CC17-4BFF-B00B-B4F34E30B669}" srcOrd="1" destOrd="0" presId="urn:microsoft.com/office/officeart/2005/8/layout/hierarchy3"/>
    <dgm:cxn modelId="{E2484BFB-6D5F-49DB-A383-90C4E9D1FBFA}" type="presOf" srcId="{863B78E5-5296-4C0E-9462-9A7587A80596}" destId="{C065DCCE-000D-4791-B909-951407E38F93}" srcOrd="1" destOrd="0" presId="urn:microsoft.com/office/officeart/2005/8/layout/hierarchy3"/>
    <dgm:cxn modelId="{B70A04E0-22BA-4ECE-B5B4-48125DF3AEE6}" type="presOf" srcId="{A47D5FCE-0C5C-4C4E-B2E8-A1CFEBFCE74C}" destId="{2917DDB8-8617-4C6D-AEB0-537818F7FCDD}" srcOrd="0" destOrd="0" presId="urn:microsoft.com/office/officeart/2005/8/layout/hierarchy3"/>
    <dgm:cxn modelId="{D562963E-2902-40CF-8C1D-94A30897AD81}" srcId="{A47D5FCE-0C5C-4C4E-B2E8-A1CFEBFCE74C}" destId="{37101263-B576-407D-B664-38EF4C9207BE}" srcOrd="2" destOrd="0" parTransId="{A16230CF-4FCA-4F84-A198-4FF5FA122CD7}" sibTransId="{FD986510-AAD3-4645-8022-073015D8CD2B}"/>
    <dgm:cxn modelId="{0A4309EC-D65A-43BA-BF23-3F13759752CC}" srcId="{A47D5FCE-0C5C-4C4E-B2E8-A1CFEBFCE74C}" destId="{B1B37224-3C0F-4956-83D2-2C63DB23964D}" srcOrd="3" destOrd="0" parTransId="{C8E1D68C-A49D-46E3-82D5-FB4167E16ECD}" sibTransId="{66CC07EB-6B46-42AA-8898-06A12502F12E}"/>
    <dgm:cxn modelId="{D4DEC087-4825-49FC-88DD-33302D049F27}" srcId="{A47D5FCE-0C5C-4C4E-B2E8-A1CFEBFCE74C}" destId="{0BE62B33-3C0B-4818-A2EC-E9DA977CE9A1}" srcOrd="1" destOrd="0" parTransId="{2BE622E1-0B32-4AE2-984D-F35510190BD3}" sibTransId="{BFA0CD7B-7F15-43CC-AB3A-36814743755B}"/>
    <dgm:cxn modelId="{F6C3A514-F899-43A3-8257-A3B50A6CC3C0}" type="presOf" srcId="{B1B37224-3C0F-4956-83D2-2C63DB23964D}" destId="{6F046F3E-63CC-4D66-BF11-67159E53A19E}" srcOrd="0" destOrd="0" presId="urn:microsoft.com/office/officeart/2005/8/layout/hierarchy3"/>
    <dgm:cxn modelId="{896AFD20-C8B4-47E0-8942-062F166F0F0B}" srcId="{A47D5FCE-0C5C-4C4E-B2E8-A1CFEBFCE74C}" destId="{863B78E5-5296-4C0E-9462-9A7587A80596}" srcOrd="0" destOrd="0" parTransId="{A38E3F20-E713-4E96-B074-60925F02B993}" sibTransId="{7948FDAF-8186-42E4-BF3C-813BBF360B3C}"/>
    <dgm:cxn modelId="{A2D5C5EB-E56D-4FE7-B1C8-159462587C77}" type="presOf" srcId="{37101263-B576-407D-B664-38EF4C9207BE}" destId="{A13CBE09-563D-440B-9EBB-5A9E465855AB}" srcOrd="0" destOrd="0" presId="urn:microsoft.com/office/officeart/2005/8/layout/hierarchy3"/>
    <dgm:cxn modelId="{4642BF49-8265-4BD8-87FF-FF84B1C935AE}" type="presOf" srcId="{37101263-B576-407D-B664-38EF4C9207BE}" destId="{B7996721-1F13-4CAE-B462-ABEFEDAD9BD4}" srcOrd="1" destOrd="0" presId="urn:microsoft.com/office/officeart/2005/8/layout/hierarchy3"/>
    <dgm:cxn modelId="{83B5C8B3-CFAC-4472-8470-318FD449D7CE}" type="presOf" srcId="{917FFE70-08A7-42F3-9114-B59AC85F2A97}" destId="{E21699B3-71F2-4F51-8FB4-EC3E62D3DBED}" srcOrd="1" destOrd="0" presId="urn:microsoft.com/office/officeart/2005/8/layout/hierarchy3"/>
    <dgm:cxn modelId="{38CE535F-652F-4180-A2C6-8AAC3651B08F}" type="presOf" srcId="{863B78E5-5296-4C0E-9462-9A7587A80596}" destId="{03D6B6F6-0F43-4C99-8D6E-17D4C425824B}" srcOrd="0" destOrd="0" presId="urn:microsoft.com/office/officeart/2005/8/layout/hierarchy3"/>
    <dgm:cxn modelId="{2167A7A6-2AC2-4530-84C9-FECBE01CE448}" type="presOf" srcId="{0BE62B33-3C0B-4818-A2EC-E9DA977CE9A1}" destId="{0FE1064F-6410-4761-8047-987CA2FB6735}" srcOrd="0" destOrd="0" presId="urn:microsoft.com/office/officeart/2005/8/layout/hierarchy3"/>
    <dgm:cxn modelId="{91390A74-F183-4631-BAAF-F5A46309770F}" srcId="{A47D5FCE-0C5C-4C4E-B2E8-A1CFEBFCE74C}" destId="{917FFE70-08A7-42F3-9114-B59AC85F2A97}" srcOrd="4" destOrd="0" parTransId="{9B6442D1-9C5B-4CF1-8838-7AD75B764C04}" sibTransId="{CCA1A884-16E9-4234-9FD1-73F4243DF3EB}"/>
    <dgm:cxn modelId="{6C7293F3-D4C0-49B4-8E25-DE2B29B43C1D}" type="presOf" srcId="{917FFE70-08A7-42F3-9114-B59AC85F2A97}" destId="{4BCAF03B-4725-4DC4-A76E-9E6AA247E3BD}" srcOrd="0" destOrd="0" presId="urn:microsoft.com/office/officeart/2005/8/layout/hierarchy3"/>
    <dgm:cxn modelId="{B3BE2474-1C05-4E1C-BE4B-A9DDFA939000}" type="presParOf" srcId="{2917DDB8-8617-4C6D-AEB0-537818F7FCDD}" destId="{B1431CC7-F413-4070-9BC1-20F04CD71469}" srcOrd="0" destOrd="0" presId="urn:microsoft.com/office/officeart/2005/8/layout/hierarchy3"/>
    <dgm:cxn modelId="{9320FEAD-2CDD-44BA-9B9E-956FA0E86FCA}" type="presParOf" srcId="{B1431CC7-F413-4070-9BC1-20F04CD71469}" destId="{E53729E6-EBFF-4C3C-AC8F-C3D5CEC8379C}" srcOrd="0" destOrd="0" presId="urn:microsoft.com/office/officeart/2005/8/layout/hierarchy3"/>
    <dgm:cxn modelId="{085459FD-B8D5-4151-8A89-085AABC515AF}" type="presParOf" srcId="{E53729E6-EBFF-4C3C-AC8F-C3D5CEC8379C}" destId="{03D6B6F6-0F43-4C99-8D6E-17D4C425824B}" srcOrd="0" destOrd="0" presId="urn:microsoft.com/office/officeart/2005/8/layout/hierarchy3"/>
    <dgm:cxn modelId="{36A85BBF-2F63-4FF2-A24F-EDFECDA30E0D}" type="presParOf" srcId="{E53729E6-EBFF-4C3C-AC8F-C3D5CEC8379C}" destId="{C065DCCE-000D-4791-B909-951407E38F93}" srcOrd="1" destOrd="0" presId="urn:microsoft.com/office/officeart/2005/8/layout/hierarchy3"/>
    <dgm:cxn modelId="{0D5EBE29-AADC-4D5A-9ED1-58FE645708D4}" type="presParOf" srcId="{B1431CC7-F413-4070-9BC1-20F04CD71469}" destId="{4DD3A51E-2042-46F4-B601-7F94FD8B32AB}" srcOrd="1" destOrd="0" presId="urn:microsoft.com/office/officeart/2005/8/layout/hierarchy3"/>
    <dgm:cxn modelId="{FBB153F4-73CE-45EC-AF05-643943E5605F}" type="presParOf" srcId="{2917DDB8-8617-4C6D-AEB0-537818F7FCDD}" destId="{B260B530-15E3-4C5F-BE11-ABEA273A085F}" srcOrd="1" destOrd="0" presId="urn:microsoft.com/office/officeart/2005/8/layout/hierarchy3"/>
    <dgm:cxn modelId="{72667868-D9A7-4B78-AF90-447BE559CB92}" type="presParOf" srcId="{B260B530-15E3-4C5F-BE11-ABEA273A085F}" destId="{84096AF6-9C9A-4748-B205-24A361C4BB05}" srcOrd="0" destOrd="0" presId="urn:microsoft.com/office/officeart/2005/8/layout/hierarchy3"/>
    <dgm:cxn modelId="{D314C814-88CB-45EE-BE54-1D3F4D02FB12}" type="presParOf" srcId="{84096AF6-9C9A-4748-B205-24A361C4BB05}" destId="{0FE1064F-6410-4761-8047-987CA2FB6735}" srcOrd="0" destOrd="0" presId="urn:microsoft.com/office/officeart/2005/8/layout/hierarchy3"/>
    <dgm:cxn modelId="{1C5D9B66-AB07-481D-82F5-3344D55C9936}" type="presParOf" srcId="{84096AF6-9C9A-4748-B205-24A361C4BB05}" destId="{19BA29CE-CC17-4BFF-B00B-B4F34E30B669}" srcOrd="1" destOrd="0" presId="urn:microsoft.com/office/officeart/2005/8/layout/hierarchy3"/>
    <dgm:cxn modelId="{E47D77CC-B267-46C4-81C1-4F73998B77ED}" type="presParOf" srcId="{B260B530-15E3-4C5F-BE11-ABEA273A085F}" destId="{F53B7F5B-EC89-4512-9427-74B9AE025A32}" srcOrd="1" destOrd="0" presId="urn:microsoft.com/office/officeart/2005/8/layout/hierarchy3"/>
    <dgm:cxn modelId="{B0AA9B94-5CA7-48D5-9C0D-5557A3133FF2}" type="presParOf" srcId="{2917DDB8-8617-4C6D-AEB0-537818F7FCDD}" destId="{7DC6119E-1255-478B-A832-2BEBD6B813B6}" srcOrd="2" destOrd="0" presId="urn:microsoft.com/office/officeart/2005/8/layout/hierarchy3"/>
    <dgm:cxn modelId="{2A7B478F-4784-4339-858A-ED5453531CDA}" type="presParOf" srcId="{7DC6119E-1255-478B-A832-2BEBD6B813B6}" destId="{61793856-A045-49F2-95DB-B6CAC19B107C}" srcOrd="0" destOrd="0" presId="urn:microsoft.com/office/officeart/2005/8/layout/hierarchy3"/>
    <dgm:cxn modelId="{BB29C114-8DA2-4923-84D2-2AF0466ABD7E}" type="presParOf" srcId="{61793856-A045-49F2-95DB-B6CAC19B107C}" destId="{A13CBE09-563D-440B-9EBB-5A9E465855AB}" srcOrd="0" destOrd="0" presId="urn:microsoft.com/office/officeart/2005/8/layout/hierarchy3"/>
    <dgm:cxn modelId="{B2519656-D29D-4CA2-B4AC-35CABB2437B4}" type="presParOf" srcId="{61793856-A045-49F2-95DB-B6CAC19B107C}" destId="{B7996721-1F13-4CAE-B462-ABEFEDAD9BD4}" srcOrd="1" destOrd="0" presId="urn:microsoft.com/office/officeart/2005/8/layout/hierarchy3"/>
    <dgm:cxn modelId="{9A47490B-03CC-424D-8F1C-0DB2E62A71D8}" type="presParOf" srcId="{7DC6119E-1255-478B-A832-2BEBD6B813B6}" destId="{2E7CC819-41C2-44CD-BA8E-05DE4F45D88A}" srcOrd="1" destOrd="0" presId="urn:microsoft.com/office/officeart/2005/8/layout/hierarchy3"/>
    <dgm:cxn modelId="{71D222BC-F792-4059-B5B9-D48E25AF03FE}" type="presParOf" srcId="{2917DDB8-8617-4C6D-AEB0-537818F7FCDD}" destId="{E48C42FB-E67C-46D3-BA6B-3E796D128E6A}" srcOrd="3" destOrd="0" presId="urn:microsoft.com/office/officeart/2005/8/layout/hierarchy3"/>
    <dgm:cxn modelId="{F9AB16F5-D541-4CC8-969D-6B16E7C5C759}" type="presParOf" srcId="{E48C42FB-E67C-46D3-BA6B-3E796D128E6A}" destId="{5DD86A44-052A-4D10-B3E1-4B364E4530BD}" srcOrd="0" destOrd="0" presId="urn:microsoft.com/office/officeart/2005/8/layout/hierarchy3"/>
    <dgm:cxn modelId="{3DA68E90-F93F-48B0-BCB6-DB296BFFA56D}" type="presParOf" srcId="{5DD86A44-052A-4D10-B3E1-4B364E4530BD}" destId="{6F046F3E-63CC-4D66-BF11-67159E53A19E}" srcOrd="0" destOrd="0" presId="urn:microsoft.com/office/officeart/2005/8/layout/hierarchy3"/>
    <dgm:cxn modelId="{BF63473C-4848-4FA1-BB41-F8C738559B5C}" type="presParOf" srcId="{5DD86A44-052A-4D10-B3E1-4B364E4530BD}" destId="{F5CE795B-E4BC-4D57-911B-89A8CDCB7562}" srcOrd="1" destOrd="0" presId="urn:microsoft.com/office/officeart/2005/8/layout/hierarchy3"/>
    <dgm:cxn modelId="{E1FEF1DF-1992-45DA-86CD-D98B4A60339F}" type="presParOf" srcId="{E48C42FB-E67C-46D3-BA6B-3E796D128E6A}" destId="{42A946E0-0D16-48D3-BD25-31F5739A62EE}" srcOrd="1" destOrd="0" presId="urn:microsoft.com/office/officeart/2005/8/layout/hierarchy3"/>
    <dgm:cxn modelId="{012AC15A-AF2B-47E0-9D6A-1174E48F14C5}" type="presParOf" srcId="{2917DDB8-8617-4C6D-AEB0-537818F7FCDD}" destId="{22586059-83BD-4399-81E3-C12EA0DF2896}" srcOrd="4" destOrd="0" presId="urn:microsoft.com/office/officeart/2005/8/layout/hierarchy3"/>
    <dgm:cxn modelId="{24D6872A-5EEA-4D4D-96F3-4D9568A15D95}" type="presParOf" srcId="{22586059-83BD-4399-81E3-C12EA0DF2896}" destId="{EE54028A-7392-4943-9815-72E2928EB505}" srcOrd="0" destOrd="0" presId="urn:microsoft.com/office/officeart/2005/8/layout/hierarchy3"/>
    <dgm:cxn modelId="{C738DC72-88DA-440A-AC66-D5C729CFD0E4}" type="presParOf" srcId="{EE54028A-7392-4943-9815-72E2928EB505}" destId="{4BCAF03B-4725-4DC4-A76E-9E6AA247E3BD}" srcOrd="0" destOrd="0" presId="urn:microsoft.com/office/officeart/2005/8/layout/hierarchy3"/>
    <dgm:cxn modelId="{8F19A854-DB13-46E5-8232-F323393823E4}" type="presParOf" srcId="{EE54028A-7392-4943-9815-72E2928EB505}" destId="{E21699B3-71F2-4F51-8FB4-EC3E62D3DBED}" srcOrd="1" destOrd="0" presId="urn:microsoft.com/office/officeart/2005/8/layout/hierarchy3"/>
    <dgm:cxn modelId="{721F0BF9-BFBF-49F6-86BD-FA1A7B1BFAED}" type="presParOf" srcId="{22586059-83BD-4399-81E3-C12EA0DF2896}" destId="{827C5894-6829-4CBA-9B1D-16343080E64B}" srcOrd="1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19.xml><?xml version="1.0" encoding="utf-8"?>
<dgm:dataModel xmlns:dgm="http://schemas.openxmlformats.org/drawingml/2006/diagram" xmlns:a="http://schemas.openxmlformats.org/drawingml/2006/main">
  <dgm:ptLst>
    <dgm:pt modelId="{AA745A7E-DD58-4F7C-83C8-11C940FCA358}" type="doc">
      <dgm:prSet loTypeId="urn:microsoft.com/office/officeart/2005/8/layout/hierarchy3" loCatId="hierarchy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s-CO"/>
        </a:p>
      </dgm:t>
    </dgm:pt>
    <dgm:pt modelId="{41A80459-902A-4FF0-A841-AACCB63E6BA0}">
      <dgm:prSet/>
      <dgm:spPr/>
      <dgm:t>
        <a:bodyPr/>
        <a:lstStyle/>
        <a:p>
          <a:pPr rtl="0"/>
          <a:r>
            <a:rPr lang="es-CO" dirty="0" smtClean="0"/>
            <a:t>Hacer gestión desde lo local hacia lo nacional, de forma tal que se pueda tener éxito en los trámites administrativos</a:t>
          </a:r>
          <a:endParaRPr lang="es-CO" dirty="0"/>
        </a:p>
      </dgm:t>
    </dgm:pt>
    <dgm:pt modelId="{C997E4E6-87C1-4A81-AA74-D4AE578A3257}" type="parTrans" cxnId="{DEB50D43-22F1-4D24-B8F6-BD0A76900CE7}">
      <dgm:prSet/>
      <dgm:spPr/>
      <dgm:t>
        <a:bodyPr/>
        <a:lstStyle/>
        <a:p>
          <a:endParaRPr lang="es-CO"/>
        </a:p>
      </dgm:t>
    </dgm:pt>
    <dgm:pt modelId="{1E87C578-8D55-4B81-BAF9-1E3B410D507B}" type="sibTrans" cxnId="{DEB50D43-22F1-4D24-B8F6-BD0A76900CE7}">
      <dgm:prSet/>
      <dgm:spPr/>
      <dgm:t>
        <a:bodyPr/>
        <a:lstStyle/>
        <a:p>
          <a:endParaRPr lang="es-CO"/>
        </a:p>
      </dgm:t>
    </dgm:pt>
    <dgm:pt modelId="{2A7AC29E-1975-41BD-A78B-8935E4DCAAD5}">
      <dgm:prSet/>
      <dgm:spPr/>
      <dgm:t>
        <a:bodyPr/>
        <a:lstStyle/>
        <a:p>
          <a:pPr rtl="0"/>
          <a:r>
            <a:rPr lang="es-CO" dirty="0" smtClean="0"/>
            <a:t>Fortalecer los equipos humanos, conocedor del tema, </a:t>
          </a:r>
          <a:endParaRPr lang="es-CO" dirty="0"/>
        </a:p>
      </dgm:t>
    </dgm:pt>
    <dgm:pt modelId="{8EA52B84-B0AF-4C55-A05D-714C1F596E03}" type="parTrans" cxnId="{E149F5AE-3A2D-495B-A817-5EA3579072A0}">
      <dgm:prSet/>
      <dgm:spPr/>
      <dgm:t>
        <a:bodyPr/>
        <a:lstStyle/>
        <a:p>
          <a:endParaRPr lang="es-CO"/>
        </a:p>
      </dgm:t>
    </dgm:pt>
    <dgm:pt modelId="{889EE5B9-BAF5-44AD-86C8-A6F6958EE9DB}" type="sibTrans" cxnId="{E149F5AE-3A2D-495B-A817-5EA3579072A0}">
      <dgm:prSet/>
      <dgm:spPr/>
      <dgm:t>
        <a:bodyPr/>
        <a:lstStyle/>
        <a:p>
          <a:endParaRPr lang="es-CO"/>
        </a:p>
      </dgm:t>
    </dgm:pt>
    <dgm:pt modelId="{C7B91D30-A4A7-483D-8C5B-39E4CE717B0F}">
      <dgm:prSet/>
      <dgm:spPr/>
      <dgm:t>
        <a:bodyPr/>
        <a:lstStyle/>
        <a:p>
          <a:pPr rtl="0"/>
          <a:r>
            <a:rPr lang="es-CO" dirty="0" smtClean="0"/>
            <a:t>Desplegar acciones de capacitación a funcionarios de calidad y de Inspección y Vigilancia </a:t>
          </a:r>
          <a:endParaRPr lang="es-CO" dirty="0"/>
        </a:p>
      </dgm:t>
    </dgm:pt>
    <dgm:pt modelId="{0B240A09-60CB-4C0E-8D8B-94482103ED01}" type="parTrans" cxnId="{088AB6B0-F8E9-4766-B220-B1767826640C}">
      <dgm:prSet/>
      <dgm:spPr/>
      <dgm:t>
        <a:bodyPr/>
        <a:lstStyle/>
        <a:p>
          <a:endParaRPr lang="es-CO"/>
        </a:p>
      </dgm:t>
    </dgm:pt>
    <dgm:pt modelId="{AC85F310-2771-4A4C-9CA6-DF481D4D2E28}" type="sibTrans" cxnId="{088AB6B0-F8E9-4766-B220-B1767826640C}">
      <dgm:prSet/>
      <dgm:spPr/>
      <dgm:t>
        <a:bodyPr/>
        <a:lstStyle/>
        <a:p>
          <a:endParaRPr lang="es-CO"/>
        </a:p>
      </dgm:t>
    </dgm:pt>
    <dgm:pt modelId="{8C2B9086-56C0-4FA3-B4D2-D5E51250BAF7}">
      <dgm:prSet/>
      <dgm:spPr/>
      <dgm:t>
        <a:bodyPr/>
        <a:lstStyle/>
        <a:p>
          <a:pPr rtl="0"/>
          <a:r>
            <a:rPr lang="es-CO" dirty="0" smtClean="0"/>
            <a:t>Aplicar las herramientas normativas, una mejor posición frente al tema de la formación con dependencias encargadas sólo de esta área del conocimiento </a:t>
          </a:r>
          <a:endParaRPr lang="es-CO" dirty="0"/>
        </a:p>
      </dgm:t>
    </dgm:pt>
    <dgm:pt modelId="{6749AE0B-208F-44CE-8AE9-7F6C4C47E2C5}" type="parTrans" cxnId="{1E12F338-416A-4E3D-944B-449600598076}">
      <dgm:prSet/>
      <dgm:spPr/>
      <dgm:t>
        <a:bodyPr/>
        <a:lstStyle/>
        <a:p>
          <a:endParaRPr lang="es-CO"/>
        </a:p>
      </dgm:t>
    </dgm:pt>
    <dgm:pt modelId="{87B4F891-20DF-4DD7-86DC-91DB454EAD5C}" type="sibTrans" cxnId="{1E12F338-416A-4E3D-944B-449600598076}">
      <dgm:prSet/>
      <dgm:spPr/>
      <dgm:t>
        <a:bodyPr/>
        <a:lstStyle/>
        <a:p>
          <a:endParaRPr lang="es-CO"/>
        </a:p>
      </dgm:t>
    </dgm:pt>
    <dgm:pt modelId="{48884F0C-77BE-4259-B0CF-1104D70310DA}" type="pres">
      <dgm:prSet presAssocID="{AA745A7E-DD58-4F7C-83C8-11C940FCA358}" presName="diagram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s-ES"/>
        </a:p>
      </dgm:t>
    </dgm:pt>
    <dgm:pt modelId="{C6D9EE20-7DEA-4D5F-82F8-C7675CE49243}" type="pres">
      <dgm:prSet presAssocID="{41A80459-902A-4FF0-A841-AACCB63E6BA0}" presName="root" presStyleCnt="0"/>
      <dgm:spPr/>
    </dgm:pt>
    <dgm:pt modelId="{8A50DB17-C6BE-4718-A35F-81B60DC8C69F}" type="pres">
      <dgm:prSet presAssocID="{41A80459-902A-4FF0-A841-AACCB63E6BA0}" presName="rootComposite" presStyleCnt="0"/>
      <dgm:spPr/>
    </dgm:pt>
    <dgm:pt modelId="{E4740B4E-D602-44ED-A13C-95D23E3B8B04}" type="pres">
      <dgm:prSet presAssocID="{41A80459-902A-4FF0-A841-AACCB63E6BA0}" presName="rootText" presStyleLbl="node1" presStyleIdx="0" presStyleCnt="4" custScaleY="408420"/>
      <dgm:spPr/>
      <dgm:t>
        <a:bodyPr/>
        <a:lstStyle/>
        <a:p>
          <a:endParaRPr lang="es-ES"/>
        </a:p>
      </dgm:t>
    </dgm:pt>
    <dgm:pt modelId="{E1E70B87-7512-46F9-BF61-F812C978E2B0}" type="pres">
      <dgm:prSet presAssocID="{41A80459-902A-4FF0-A841-AACCB63E6BA0}" presName="rootConnector" presStyleLbl="node1" presStyleIdx="0" presStyleCnt="4"/>
      <dgm:spPr/>
      <dgm:t>
        <a:bodyPr/>
        <a:lstStyle/>
        <a:p>
          <a:endParaRPr lang="es-ES"/>
        </a:p>
      </dgm:t>
    </dgm:pt>
    <dgm:pt modelId="{80923F05-BD71-4763-9F87-28778748E1D8}" type="pres">
      <dgm:prSet presAssocID="{41A80459-902A-4FF0-A841-AACCB63E6BA0}" presName="childShape" presStyleCnt="0"/>
      <dgm:spPr/>
    </dgm:pt>
    <dgm:pt modelId="{C3480B67-ED62-481A-B333-C4987B178245}" type="pres">
      <dgm:prSet presAssocID="{2A7AC29E-1975-41BD-A78B-8935E4DCAAD5}" presName="root" presStyleCnt="0"/>
      <dgm:spPr/>
    </dgm:pt>
    <dgm:pt modelId="{C8097410-0515-439E-BD1D-A0773975D027}" type="pres">
      <dgm:prSet presAssocID="{2A7AC29E-1975-41BD-A78B-8935E4DCAAD5}" presName="rootComposite" presStyleCnt="0"/>
      <dgm:spPr/>
    </dgm:pt>
    <dgm:pt modelId="{724FF24A-8DED-47CF-A0DB-4150854DCE25}" type="pres">
      <dgm:prSet presAssocID="{2A7AC29E-1975-41BD-A78B-8935E4DCAAD5}" presName="rootText" presStyleLbl="node1" presStyleIdx="1" presStyleCnt="4" custScaleY="408420"/>
      <dgm:spPr/>
      <dgm:t>
        <a:bodyPr/>
        <a:lstStyle/>
        <a:p>
          <a:endParaRPr lang="es-ES"/>
        </a:p>
      </dgm:t>
    </dgm:pt>
    <dgm:pt modelId="{EE803F45-A6BC-49A4-AFAB-EF5FACF5B50A}" type="pres">
      <dgm:prSet presAssocID="{2A7AC29E-1975-41BD-A78B-8935E4DCAAD5}" presName="rootConnector" presStyleLbl="node1" presStyleIdx="1" presStyleCnt="4"/>
      <dgm:spPr/>
      <dgm:t>
        <a:bodyPr/>
        <a:lstStyle/>
        <a:p>
          <a:endParaRPr lang="es-ES"/>
        </a:p>
      </dgm:t>
    </dgm:pt>
    <dgm:pt modelId="{F495C878-D06D-4E9F-841E-38FA9A667D1F}" type="pres">
      <dgm:prSet presAssocID="{2A7AC29E-1975-41BD-A78B-8935E4DCAAD5}" presName="childShape" presStyleCnt="0"/>
      <dgm:spPr/>
    </dgm:pt>
    <dgm:pt modelId="{425C9F61-C8E7-4453-A965-1A6C16470263}" type="pres">
      <dgm:prSet presAssocID="{C7B91D30-A4A7-483D-8C5B-39E4CE717B0F}" presName="root" presStyleCnt="0"/>
      <dgm:spPr/>
    </dgm:pt>
    <dgm:pt modelId="{E618FD16-7856-44DE-90DB-4D0F316223D1}" type="pres">
      <dgm:prSet presAssocID="{C7B91D30-A4A7-483D-8C5B-39E4CE717B0F}" presName="rootComposite" presStyleCnt="0"/>
      <dgm:spPr/>
    </dgm:pt>
    <dgm:pt modelId="{09B66D84-C856-4849-8A3F-1CD1E8CA447C}" type="pres">
      <dgm:prSet presAssocID="{C7B91D30-A4A7-483D-8C5B-39E4CE717B0F}" presName="rootText" presStyleLbl="node1" presStyleIdx="2" presStyleCnt="4" custScaleY="408420"/>
      <dgm:spPr/>
      <dgm:t>
        <a:bodyPr/>
        <a:lstStyle/>
        <a:p>
          <a:endParaRPr lang="es-ES"/>
        </a:p>
      </dgm:t>
    </dgm:pt>
    <dgm:pt modelId="{588A7A3A-D969-4330-BAA5-B109F3823014}" type="pres">
      <dgm:prSet presAssocID="{C7B91D30-A4A7-483D-8C5B-39E4CE717B0F}" presName="rootConnector" presStyleLbl="node1" presStyleIdx="2" presStyleCnt="4"/>
      <dgm:spPr/>
      <dgm:t>
        <a:bodyPr/>
        <a:lstStyle/>
        <a:p>
          <a:endParaRPr lang="es-ES"/>
        </a:p>
      </dgm:t>
    </dgm:pt>
    <dgm:pt modelId="{0E2089A8-B2D1-4A44-8F76-D1F20E32F058}" type="pres">
      <dgm:prSet presAssocID="{C7B91D30-A4A7-483D-8C5B-39E4CE717B0F}" presName="childShape" presStyleCnt="0"/>
      <dgm:spPr/>
    </dgm:pt>
    <dgm:pt modelId="{700A0426-FB1D-44DE-8AA6-DCECEB844A84}" type="pres">
      <dgm:prSet presAssocID="{8C2B9086-56C0-4FA3-B4D2-D5E51250BAF7}" presName="root" presStyleCnt="0"/>
      <dgm:spPr/>
    </dgm:pt>
    <dgm:pt modelId="{131E9631-6553-46DA-BD09-09ECC4B260B8}" type="pres">
      <dgm:prSet presAssocID="{8C2B9086-56C0-4FA3-B4D2-D5E51250BAF7}" presName="rootComposite" presStyleCnt="0"/>
      <dgm:spPr/>
    </dgm:pt>
    <dgm:pt modelId="{FE081FDD-3553-4622-971D-1C75FC7E7D3B}" type="pres">
      <dgm:prSet presAssocID="{8C2B9086-56C0-4FA3-B4D2-D5E51250BAF7}" presName="rootText" presStyleLbl="node1" presStyleIdx="3" presStyleCnt="4" custScaleY="408420"/>
      <dgm:spPr/>
      <dgm:t>
        <a:bodyPr/>
        <a:lstStyle/>
        <a:p>
          <a:endParaRPr lang="es-ES"/>
        </a:p>
      </dgm:t>
    </dgm:pt>
    <dgm:pt modelId="{4C633CEC-1711-4ADD-B521-D2B33F0702B2}" type="pres">
      <dgm:prSet presAssocID="{8C2B9086-56C0-4FA3-B4D2-D5E51250BAF7}" presName="rootConnector" presStyleLbl="node1" presStyleIdx="3" presStyleCnt="4"/>
      <dgm:spPr/>
      <dgm:t>
        <a:bodyPr/>
        <a:lstStyle/>
        <a:p>
          <a:endParaRPr lang="es-ES"/>
        </a:p>
      </dgm:t>
    </dgm:pt>
    <dgm:pt modelId="{CEB83DBE-71BA-4738-BFFB-B45CBD80AB48}" type="pres">
      <dgm:prSet presAssocID="{8C2B9086-56C0-4FA3-B4D2-D5E51250BAF7}" presName="childShape" presStyleCnt="0"/>
      <dgm:spPr/>
    </dgm:pt>
  </dgm:ptLst>
  <dgm:cxnLst>
    <dgm:cxn modelId="{C23FAB29-3E54-48CA-9D95-636316D4658A}" type="presOf" srcId="{8C2B9086-56C0-4FA3-B4D2-D5E51250BAF7}" destId="{4C633CEC-1711-4ADD-B521-D2B33F0702B2}" srcOrd="1" destOrd="0" presId="urn:microsoft.com/office/officeart/2005/8/layout/hierarchy3"/>
    <dgm:cxn modelId="{00B450BD-FCC3-4D42-90EE-988E299BBC67}" type="presOf" srcId="{2A7AC29E-1975-41BD-A78B-8935E4DCAAD5}" destId="{EE803F45-A6BC-49A4-AFAB-EF5FACF5B50A}" srcOrd="1" destOrd="0" presId="urn:microsoft.com/office/officeart/2005/8/layout/hierarchy3"/>
    <dgm:cxn modelId="{4D3CDA44-297B-4566-81A9-B03D6BA0CA3E}" type="presOf" srcId="{C7B91D30-A4A7-483D-8C5B-39E4CE717B0F}" destId="{588A7A3A-D969-4330-BAA5-B109F3823014}" srcOrd="1" destOrd="0" presId="urn:microsoft.com/office/officeart/2005/8/layout/hierarchy3"/>
    <dgm:cxn modelId="{1E12F338-416A-4E3D-944B-449600598076}" srcId="{AA745A7E-DD58-4F7C-83C8-11C940FCA358}" destId="{8C2B9086-56C0-4FA3-B4D2-D5E51250BAF7}" srcOrd="3" destOrd="0" parTransId="{6749AE0B-208F-44CE-8AE9-7F6C4C47E2C5}" sibTransId="{87B4F891-20DF-4DD7-86DC-91DB454EAD5C}"/>
    <dgm:cxn modelId="{5317580F-ED67-4D0E-AAB1-587A3B77E78F}" type="presOf" srcId="{41A80459-902A-4FF0-A841-AACCB63E6BA0}" destId="{E4740B4E-D602-44ED-A13C-95D23E3B8B04}" srcOrd="0" destOrd="0" presId="urn:microsoft.com/office/officeart/2005/8/layout/hierarchy3"/>
    <dgm:cxn modelId="{7FF1E8DE-DD04-4A2B-B009-B21076711FF9}" type="presOf" srcId="{8C2B9086-56C0-4FA3-B4D2-D5E51250BAF7}" destId="{FE081FDD-3553-4622-971D-1C75FC7E7D3B}" srcOrd="0" destOrd="0" presId="urn:microsoft.com/office/officeart/2005/8/layout/hierarchy3"/>
    <dgm:cxn modelId="{088AB6B0-F8E9-4766-B220-B1767826640C}" srcId="{AA745A7E-DD58-4F7C-83C8-11C940FCA358}" destId="{C7B91D30-A4A7-483D-8C5B-39E4CE717B0F}" srcOrd="2" destOrd="0" parTransId="{0B240A09-60CB-4C0E-8D8B-94482103ED01}" sibTransId="{AC85F310-2771-4A4C-9CA6-DF481D4D2E28}"/>
    <dgm:cxn modelId="{BD8E4DE3-4619-46F2-B0C7-276CFF5ED3E2}" type="presOf" srcId="{2A7AC29E-1975-41BD-A78B-8935E4DCAAD5}" destId="{724FF24A-8DED-47CF-A0DB-4150854DCE25}" srcOrd="0" destOrd="0" presId="urn:microsoft.com/office/officeart/2005/8/layout/hierarchy3"/>
    <dgm:cxn modelId="{81DF96E6-C578-44B5-A354-08159A73F92C}" type="presOf" srcId="{C7B91D30-A4A7-483D-8C5B-39E4CE717B0F}" destId="{09B66D84-C856-4849-8A3F-1CD1E8CA447C}" srcOrd="0" destOrd="0" presId="urn:microsoft.com/office/officeart/2005/8/layout/hierarchy3"/>
    <dgm:cxn modelId="{8D3A72D9-609C-4C70-B1C3-1C1F75395C83}" type="presOf" srcId="{AA745A7E-DD58-4F7C-83C8-11C940FCA358}" destId="{48884F0C-77BE-4259-B0CF-1104D70310DA}" srcOrd="0" destOrd="0" presId="urn:microsoft.com/office/officeart/2005/8/layout/hierarchy3"/>
    <dgm:cxn modelId="{3CD7D7DF-BDC9-42E8-B145-4D71F7FAD07A}" type="presOf" srcId="{41A80459-902A-4FF0-A841-AACCB63E6BA0}" destId="{E1E70B87-7512-46F9-BF61-F812C978E2B0}" srcOrd="1" destOrd="0" presId="urn:microsoft.com/office/officeart/2005/8/layout/hierarchy3"/>
    <dgm:cxn modelId="{E149F5AE-3A2D-495B-A817-5EA3579072A0}" srcId="{AA745A7E-DD58-4F7C-83C8-11C940FCA358}" destId="{2A7AC29E-1975-41BD-A78B-8935E4DCAAD5}" srcOrd="1" destOrd="0" parTransId="{8EA52B84-B0AF-4C55-A05D-714C1F596E03}" sibTransId="{889EE5B9-BAF5-44AD-86C8-A6F6958EE9DB}"/>
    <dgm:cxn modelId="{DEB50D43-22F1-4D24-B8F6-BD0A76900CE7}" srcId="{AA745A7E-DD58-4F7C-83C8-11C940FCA358}" destId="{41A80459-902A-4FF0-A841-AACCB63E6BA0}" srcOrd="0" destOrd="0" parTransId="{C997E4E6-87C1-4A81-AA74-D4AE578A3257}" sibTransId="{1E87C578-8D55-4B81-BAF9-1E3B410D507B}"/>
    <dgm:cxn modelId="{126F46F3-14D0-4806-A5DF-2736ECABD14C}" type="presParOf" srcId="{48884F0C-77BE-4259-B0CF-1104D70310DA}" destId="{C6D9EE20-7DEA-4D5F-82F8-C7675CE49243}" srcOrd="0" destOrd="0" presId="urn:microsoft.com/office/officeart/2005/8/layout/hierarchy3"/>
    <dgm:cxn modelId="{E3968824-3C29-4212-9941-5306639EEFF3}" type="presParOf" srcId="{C6D9EE20-7DEA-4D5F-82F8-C7675CE49243}" destId="{8A50DB17-C6BE-4718-A35F-81B60DC8C69F}" srcOrd="0" destOrd="0" presId="urn:microsoft.com/office/officeart/2005/8/layout/hierarchy3"/>
    <dgm:cxn modelId="{F09AAF6B-309E-4943-8C96-E2C5297C6C36}" type="presParOf" srcId="{8A50DB17-C6BE-4718-A35F-81B60DC8C69F}" destId="{E4740B4E-D602-44ED-A13C-95D23E3B8B04}" srcOrd="0" destOrd="0" presId="urn:microsoft.com/office/officeart/2005/8/layout/hierarchy3"/>
    <dgm:cxn modelId="{EC0D7BAE-796F-4B44-BC30-B311452A3E9B}" type="presParOf" srcId="{8A50DB17-C6BE-4718-A35F-81B60DC8C69F}" destId="{E1E70B87-7512-46F9-BF61-F812C978E2B0}" srcOrd="1" destOrd="0" presId="urn:microsoft.com/office/officeart/2005/8/layout/hierarchy3"/>
    <dgm:cxn modelId="{E3E92A16-AF9B-4F91-AE88-D1E09247CE85}" type="presParOf" srcId="{C6D9EE20-7DEA-4D5F-82F8-C7675CE49243}" destId="{80923F05-BD71-4763-9F87-28778748E1D8}" srcOrd="1" destOrd="0" presId="urn:microsoft.com/office/officeart/2005/8/layout/hierarchy3"/>
    <dgm:cxn modelId="{041E3B96-35BD-4B22-8C00-C880D1809865}" type="presParOf" srcId="{48884F0C-77BE-4259-B0CF-1104D70310DA}" destId="{C3480B67-ED62-481A-B333-C4987B178245}" srcOrd="1" destOrd="0" presId="urn:microsoft.com/office/officeart/2005/8/layout/hierarchy3"/>
    <dgm:cxn modelId="{F2CA249F-DF8E-45AF-926D-1C99AEBD0847}" type="presParOf" srcId="{C3480B67-ED62-481A-B333-C4987B178245}" destId="{C8097410-0515-439E-BD1D-A0773975D027}" srcOrd="0" destOrd="0" presId="urn:microsoft.com/office/officeart/2005/8/layout/hierarchy3"/>
    <dgm:cxn modelId="{B3A56A69-F2AC-4552-B51F-FA667D788624}" type="presParOf" srcId="{C8097410-0515-439E-BD1D-A0773975D027}" destId="{724FF24A-8DED-47CF-A0DB-4150854DCE25}" srcOrd="0" destOrd="0" presId="urn:microsoft.com/office/officeart/2005/8/layout/hierarchy3"/>
    <dgm:cxn modelId="{C4AF2F67-FF0D-46A3-946D-F3ABBFE0498B}" type="presParOf" srcId="{C8097410-0515-439E-BD1D-A0773975D027}" destId="{EE803F45-A6BC-49A4-AFAB-EF5FACF5B50A}" srcOrd="1" destOrd="0" presId="urn:microsoft.com/office/officeart/2005/8/layout/hierarchy3"/>
    <dgm:cxn modelId="{E39C7374-7ACC-4663-A5FE-070EC42B25F9}" type="presParOf" srcId="{C3480B67-ED62-481A-B333-C4987B178245}" destId="{F495C878-D06D-4E9F-841E-38FA9A667D1F}" srcOrd="1" destOrd="0" presId="urn:microsoft.com/office/officeart/2005/8/layout/hierarchy3"/>
    <dgm:cxn modelId="{6CFB15FE-71E3-4E27-800C-7530595CEEB8}" type="presParOf" srcId="{48884F0C-77BE-4259-B0CF-1104D70310DA}" destId="{425C9F61-C8E7-4453-A965-1A6C16470263}" srcOrd="2" destOrd="0" presId="urn:microsoft.com/office/officeart/2005/8/layout/hierarchy3"/>
    <dgm:cxn modelId="{68B58B9C-8A1F-446F-993B-BAFB7DE265FB}" type="presParOf" srcId="{425C9F61-C8E7-4453-A965-1A6C16470263}" destId="{E618FD16-7856-44DE-90DB-4D0F316223D1}" srcOrd="0" destOrd="0" presId="urn:microsoft.com/office/officeart/2005/8/layout/hierarchy3"/>
    <dgm:cxn modelId="{2F8B96EC-1277-4430-8E02-CFF0B4009280}" type="presParOf" srcId="{E618FD16-7856-44DE-90DB-4D0F316223D1}" destId="{09B66D84-C856-4849-8A3F-1CD1E8CA447C}" srcOrd="0" destOrd="0" presId="urn:microsoft.com/office/officeart/2005/8/layout/hierarchy3"/>
    <dgm:cxn modelId="{68E19A0A-D261-4E73-B6F7-2F8D4BBEEC18}" type="presParOf" srcId="{E618FD16-7856-44DE-90DB-4D0F316223D1}" destId="{588A7A3A-D969-4330-BAA5-B109F3823014}" srcOrd="1" destOrd="0" presId="urn:microsoft.com/office/officeart/2005/8/layout/hierarchy3"/>
    <dgm:cxn modelId="{46373BEF-123D-4CF1-9762-10C3F8F23BEF}" type="presParOf" srcId="{425C9F61-C8E7-4453-A965-1A6C16470263}" destId="{0E2089A8-B2D1-4A44-8F76-D1F20E32F058}" srcOrd="1" destOrd="0" presId="urn:microsoft.com/office/officeart/2005/8/layout/hierarchy3"/>
    <dgm:cxn modelId="{1B957C67-E947-4ACF-A131-1DBEA394140A}" type="presParOf" srcId="{48884F0C-77BE-4259-B0CF-1104D70310DA}" destId="{700A0426-FB1D-44DE-8AA6-DCECEB844A84}" srcOrd="3" destOrd="0" presId="urn:microsoft.com/office/officeart/2005/8/layout/hierarchy3"/>
    <dgm:cxn modelId="{BEB7B156-708D-477C-BAA9-B2688A9BF118}" type="presParOf" srcId="{700A0426-FB1D-44DE-8AA6-DCECEB844A84}" destId="{131E9631-6553-46DA-BD09-09ECC4B260B8}" srcOrd="0" destOrd="0" presId="urn:microsoft.com/office/officeart/2005/8/layout/hierarchy3"/>
    <dgm:cxn modelId="{F1B944A0-97E9-4191-B09A-6435A5155739}" type="presParOf" srcId="{131E9631-6553-46DA-BD09-09ECC4B260B8}" destId="{FE081FDD-3553-4622-971D-1C75FC7E7D3B}" srcOrd="0" destOrd="0" presId="urn:microsoft.com/office/officeart/2005/8/layout/hierarchy3"/>
    <dgm:cxn modelId="{E75899C3-1BE1-4A6A-B7CB-C8FEE800E5A5}" type="presParOf" srcId="{131E9631-6553-46DA-BD09-09ECC4B260B8}" destId="{4C633CEC-1711-4ADD-B521-D2B33F0702B2}" srcOrd="1" destOrd="0" presId="urn:microsoft.com/office/officeart/2005/8/layout/hierarchy3"/>
    <dgm:cxn modelId="{F29B4674-4A31-46F0-BB70-77650E4372C7}" type="presParOf" srcId="{700A0426-FB1D-44DE-8AA6-DCECEB844A84}" destId="{CEB83DBE-71BA-4738-BFFB-B45CBD80AB48}" srcOrd="1" destOrd="0" presId="urn:microsoft.com/office/officeart/2005/8/layout/hierarchy3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26C4A32-26E5-4629-9D88-1162318419E4}" type="doc">
      <dgm:prSet loTypeId="urn:diagrams.loki3.com/BracketList+Icon" loCatId="list" qsTypeId="urn:microsoft.com/office/officeart/2005/8/quickstyle/simple3" qsCatId="simple" csTypeId="urn:microsoft.com/office/officeart/2005/8/colors/colorful2" csCatId="colorful" phldr="1"/>
      <dgm:spPr/>
      <dgm:t>
        <a:bodyPr/>
        <a:lstStyle/>
        <a:p>
          <a:endParaRPr lang="es-CO"/>
        </a:p>
      </dgm:t>
    </dgm:pt>
    <dgm:pt modelId="{064469A7-2962-4514-AE1B-48CAD74B89F5}">
      <dgm:prSet phldrT="[Texto]"/>
      <dgm:spPr/>
      <dgm:t>
        <a:bodyPr/>
        <a:lstStyle/>
        <a:p>
          <a:pPr algn="ctr"/>
          <a:r>
            <a:rPr lang="es-CO" dirty="0" smtClean="0"/>
            <a:t>Enfoque de aseguramiento</a:t>
          </a:r>
          <a:endParaRPr lang="es-CO" dirty="0"/>
        </a:p>
      </dgm:t>
    </dgm:pt>
    <dgm:pt modelId="{0F211821-030A-4EBD-B54E-3554C274DEE9}" type="parTrans" cxnId="{B6CE68F1-354D-48AA-A353-4D7206C14F10}">
      <dgm:prSet/>
      <dgm:spPr/>
      <dgm:t>
        <a:bodyPr/>
        <a:lstStyle/>
        <a:p>
          <a:endParaRPr lang="es-CO"/>
        </a:p>
      </dgm:t>
    </dgm:pt>
    <dgm:pt modelId="{7241934F-60BE-4D04-8C7C-C96DD0962BBB}" type="sibTrans" cxnId="{B6CE68F1-354D-48AA-A353-4D7206C14F10}">
      <dgm:prSet/>
      <dgm:spPr/>
      <dgm:t>
        <a:bodyPr/>
        <a:lstStyle/>
        <a:p>
          <a:endParaRPr lang="es-CO"/>
        </a:p>
      </dgm:t>
    </dgm:pt>
    <dgm:pt modelId="{35DA1D30-9EC9-4EBE-9C91-9A643D32F9F5}">
      <dgm:prSet phldrT="[Texto]"/>
      <dgm:spPr/>
      <dgm:t>
        <a:bodyPr/>
        <a:lstStyle/>
        <a:p>
          <a:r>
            <a:rPr lang="es-CO" smtClean="0"/>
            <a:t>Nivel de licenciamiento</a:t>
          </a:r>
          <a:endParaRPr lang="es-CO" dirty="0"/>
        </a:p>
      </dgm:t>
    </dgm:pt>
    <dgm:pt modelId="{549E60F3-BDB3-4FC6-A633-90881DA1F755}" type="parTrans" cxnId="{379FA818-B5AE-4FB7-BEAB-8D5D84F6B6B4}">
      <dgm:prSet/>
      <dgm:spPr/>
      <dgm:t>
        <a:bodyPr/>
        <a:lstStyle/>
        <a:p>
          <a:endParaRPr lang="es-CO"/>
        </a:p>
      </dgm:t>
    </dgm:pt>
    <dgm:pt modelId="{B99AD4D2-DC8D-441A-8483-3605EF280F8B}" type="sibTrans" cxnId="{379FA818-B5AE-4FB7-BEAB-8D5D84F6B6B4}">
      <dgm:prSet/>
      <dgm:spPr/>
      <dgm:t>
        <a:bodyPr/>
        <a:lstStyle/>
        <a:p>
          <a:endParaRPr lang="es-CO"/>
        </a:p>
      </dgm:t>
    </dgm:pt>
    <dgm:pt modelId="{51987483-877F-4768-8A56-8A26B0A33A8B}">
      <dgm:prSet phldrT="[Texto]"/>
      <dgm:spPr/>
      <dgm:t>
        <a:bodyPr/>
        <a:lstStyle/>
        <a:p>
          <a:pPr algn="ctr"/>
          <a:r>
            <a:rPr lang="es-CO" dirty="0" smtClean="0"/>
            <a:t>Construcción de referentes</a:t>
          </a:r>
          <a:endParaRPr lang="es-CO" dirty="0"/>
        </a:p>
      </dgm:t>
    </dgm:pt>
    <dgm:pt modelId="{C0C38A25-F317-48A5-9213-A82F9BC63CD6}" type="parTrans" cxnId="{7EFE9324-5B8F-4A6F-BF04-08BD24C72182}">
      <dgm:prSet/>
      <dgm:spPr/>
      <dgm:t>
        <a:bodyPr/>
        <a:lstStyle/>
        <a:p>
          <a:endParaRPr lang="es-CO"/>
        </a:p>
      </dgm:t>
    </dgm:pt>
    <dgm:pt modelId="{D029B079-DB6B-4379-B273-7C146FE0EEA6}" type="sibTrans" cxnId="{7EFE9324-5B8F-4A6F-BF04-08BD24C72182}">
      <dgm:prSet/>
      <dgm:spPr/>
      <dgm:t>
        <a:bodyPr/>
        <a:lstStyle/>
        <a:p>
          <a:endParaRPr lang="es-CO"/>
        </a:p>
      </dgm:t>
    </dgm:pt>
    <dgm:pt modelId="{9020ABD2-8684-4F92-A44E-D8BE295BEAEA}">
      <dgm:prSet phldrT="[Texto]"/>
      <dgm:spPr/>
      <dgm:t>
        <a:bodyPr/>
        <a:lstStyle/>
        <a:p>
          <a:r>
            <a:rPr kumimoji="0" lang="es-MX" u="none" strike="noStrike" cap="none" normalizeH="0" baseline="0" smtClean="0">
              <a:ln/>
              <a:effectLst/>
            </a:rPr>
            <a:t>Mesas sectoriales con sociedad civil, sector privado y academia</a:t>
          </a:r>
          <a:r>
            <a:rPr lang="es-CO" smtClean="0"/>
            <a:t>.</a:t>
          </a:r>
          <a:endParaRPr lang="es-CO" dirty="0"/>
        </a:p>
      </dgm:t>
    </dgm:pt>
    <dgm:pt modelId="{E231F7FC-3965-40DA-9129-486763F527B7}" type="parTrans" cxnId="{C155F778-5E34-40BA-BD44-29F2AE958725}">
      <dgm:prSet/>
      <dgm:spPr/>
      <dgm:t>
        <a:bodyPr/>
        <a:lstStyle/>
        <a:p>
          <a:endParaRPr lang="es-CO"/>
        </a:p>
      </dgm:t>
    </dgm:pt>
    <dgm:pt modelId="{05C0A864-B1E8-4E23-AD3F-4E9FA62A70F8}" type="sibTrans" cxnId="{C155F778-5E34-40BA-BD44-29F2AE958725}">
      <dgm:prSet/>
      <dgm:spPr/>
      <dgm:t>
        <a:bodyPr/>
        <a:lstStyle/>
        <a:p>
          <a:endParaRPr lang="es-CO"/>
        </a:p>
      </dgm:t>
    </dgm:pt>
    <dgm:pt modelId="{1F9DD779-B3BD-4AA0-AB13-C38650497F17}">
      <dgm:prSet phldrT="[Texto]"/>
      <dgm:spPr/>
      <dgm:t>
        <a:bodyPr/>
        <a:lstStyle/>
        <a:p>
          <a:pPr algn="ctr"/>
          <a:r>
            <a:rPr lang="es-CO" dirty="0" smtClean="0"/>
            <a:t>Referentes para Instituciones</a:t>
          </a:r>
          <a:endParaRPr lang="es-CO" dirty="0"/>
        </a:p>
      </dgm:t>
    </dgm:pt>
    <dgm:pt modelId="{DFA3DED5-4C55-44FA-81F7-4696CEA92428}" type="parTrans" cxnId="{0B8A280E-DA91-46CC-B22E-2E2E65536E72}">
      <dgm:prSet/>
      <dgm:spPr/>
      <dgm:t>
        <a:bodyPr/>
        <a:lstStyle/>
        <a:p>
          <a:endParaRPr lang="es-CO"/>
        </a:p>
      </dgm:t>
    </dgm:pt>
    <dgm:pt modelId="{7A8DC637-E2FC-4171-AF82-97293C88AB29}" type="sibTrans" cxnId="{0B8A280E-DA91-46CC-B22E-2E2E65536E72}">
      <dgm:prSet/>
      <dgm:spPr/>
      <dgm:t>
        <a:bodyPr/>
        <a:lstStyle/>
        <a:p>
          <a:endParaRPr lang="es-CO"/>
        </a:p>
      </dgm:t>
    </dgm:pt>
    <dgm:pt modelId="{42E7FC2D-2B7E-43CA-A15D-5F66FCAB0376}">
      <dgm:prSet phldrT="[Texto]"/>
      <dgm:spPr/>
      <dgm:t>
        <a:bodyPr/>
        <a:lstStyle/>
        <a:p>
          <a:r>
            <a:rPr lang="es-CO" smtClean="0"/>
            <a:t>Muy variadas.</a:t>
          </a:r>
          <a:endParaRPr lang="es-CO" dirty="0"/>
        </a:p>
      </dgm:t>
    </dgm:pt>
    <dgm:pt modelId="{6FF8BA45-6649-4B68-8C29-48F3C40B2F52}" type="parTrans" cxnId="{371C32F8-16A1-4B62-8EFC-F00A7EC5208E}">
      <dgm:prSet/>
      <dgm:spPr/>
      <dgm:t>
        <a:bodyPr/>
        <a:lstStyle/>
        <a:p>
          <a:endParaRPr lang="es-CO"/>
        </a:p>
      </dgm:t>
    </dgm:pt>
    <dgm:pt modelId="{48EC2E3B-324A-48F1-A2EA-DEBB63BB0A6C}" type="sibTrans" cxnId="{371C32F8-16A1-4B62-8EFC-F00A7EC5208E}">
      <dgm:prSet/>
      <dgm:spPr/>
      <dgm:t>
        <a:bodyPr/>
        <a:lstStyle/>
        <a:p>
          <a:endParaRPr lang="es-CO"/>
        </a:p>
      </dgm:t>
    </dgm:pt>
    <dgm:pt modelId="{0ADB959F-9F28-45C2-A672-7ED00D86DF70}">
      <dgm:prSet phldrT="[Texto]"/>
      <dgm:spPr/>
      <dgm:t>
        <a:bodyPr/>
        <a:lstStyle/>
        <a:p>
          <a:pPr algn="ctr"/>
          <a:r>
            <a:rPr lang="es-CO" dirty="0" smtClean="0"/>
            <a:t>Verificación de condiciones</a:t>
          </a:r>
          <a:endParaRPr lang="es-CO" dirty="0"/>
        </a:p>
      </dgm:t>
    </dgm:pt>
    <dgm:pt modelId="{69B77398-2D68-4F89-AAFA-19A23C157FB3}" type="parTrans" cxnId="{9C1D5E67-4076-4E69-88C3-BBF88CD13624}">
      <dgm:prSet/>
      <dgm:spPr/>
      <dgm:t>
        <a:bodyPr/>
        <a:lstStyle/>
        <a:p>
          <a:endParaRPr lang="es-CO"/>
        </a:p>
      </dgm:t>
    </dgm:pt>
    <dgm:pt modelId="{EF4B8186-E0E6-458C-9D3B-267C11033752}" type="sibTrans" cxnId="{9C1D5E67-4076-4E69-88C3-BBF88CD13624}">
      <dgm:prSet/>
      <dgm:spPr/>
      <dgm:t>
        <a:bodyPr/>
        <a:lstStyle/>
        <a:p>
          <a:endParaRPr lang="es-CO"/>
        </a:p>
      </dgm:t>
    </dgm:pt>
    <dgm:pt modelId="{E18FA679-C340-414F-97A8-2AD9DDC996F2}">
      <dgm:prSet phldrT="[Texto]"/>
      <dgm:spPr/>
      <dgm:t>
        <a:bodyPr/>
        <a:lstStyle/>
        <a:p>
          <a:r>
            <a:rPr lang="es-CO" smtClean="0"/>
            <a:t>Autoevaluación.</a:t>
          </a:r>
          <a:endParaRPr lang="es-CO" dirty="0"/>
        </a:p>
      </dgm:t>
    </dgm:pt>
    <dgm:pt modelId="{9230D270-C12A-4C34-8D22-110CF305C97D}" type="parTrans" cxnId="{4CF03190-3D7D-4669-9126-24291670C2D3}">
      <dgm:prSet/>
      <dgm:spPr/>
      <dgm:t>
        <a:bodyPr/>
        <a:lstStyle/>
        <a:p>
          <a:endParaRPr lang="es-CO"/>
        </a:p>
      </dgm:t>
    </dgm:pt>
    <dgm:pt modelId="{819F8B20-0869-4239-8A25-7C7CA54A99C6}" type="sibTrans" cxnId="{4CF03190-3D7D-4669-9126-24291670C2D3}">
      <dgm:prSet/>
      <dgm:spPr/>
      <dgm:t>
        <a:bodyPr/>
        <a:lstStyle/>
        <a:p>
          <a:endParaRPr lang="es-CO"/>
        </a:p>
      </dgm:t>
    </dgm:pt>
    <dgm:pt modelId="{1DA678DE-1051-4BB0-B434-0E556E1FC305}">
      <dgm:prSet phldrT="[Texto]"/>
      <dgm:spPr/>
      <dgm:t>
        <a:bodyPr/>
        <a:lstStyle/>
        <a:p>
          <a:r>
            <a:rPr lang="es-CO" smtClean="0"/>
            <a:t>Nivel de acreditación</a:t>
          </a:r>
          <a:endParaRPr lang="es-CO" dirty="0"/>
        </a:p>
      </dgm:t>
    </dgm:pt>
    <dgm:pt modelId="{821B1614-BDC7-4CEA-A5A9-61481E313CBC}" type="parTrans" cxnId="{2E66DEF2-D063-4CEC-92C5-4452B4086114}">
      <dgm:prSet/>
      <dgm:spPr/>
      <dgm:t>
        <a:bodyPr/>
        <a:lstStyle/>
        <a:p>
          <a:endParaRPr lang="es-CO"/>
        </a:p>
      </dgm:t>
    </dgm:pt>
    <dgm:pt modelId="{3A68469D-EF37-4B0C-B895-7B9BBFF6B1E2}" type="sibTrans" cxnId="{2E66DEF2-D063-4CEC-92C5-4452B4086114}">
      <dgm:prSet/>
      <dgm:spPr/>
      <dgm:t>
        <a:bodyPr/>
        <a:lstStyle/>
        <a:p>
          <a:endParaRPr lang="es-CO"/>
        </a:p>
      </dgm:t>
    </dgm:pt>
    <dgm:pt modelId="{94EF06C5-D10C-4E82-8591-A41518A63741}">
      <dgm:prSet phldrT="[Texto]"/>
      <dgm:spPr/>
      <dgm:t>
        <a:bodyPr/>
        <a:lstStyle/>
        <a:p>
          <a:r>
            <a:rPr lang="es-CO" smtClean="0"/>
            <a:t>Incluyen: Infraestructura, personal, egresados, equipamiento, reglamentos, identidad, constitución, autonomía, recursos financieros y administrativos.</a:t>
          </a:r>
          <a:endParaRPr lang="es-CO" dirty="0"/>
        </a:p>
      </dgm:t>
    </dgm:pt>
    <dgm:pt modelId="{F3B77353-5D14-401E-80C2-1EE8D9470BF9}" type="parTrans" cxnId="{C7808709-B6A3-4EEA-918E-CAF3C3461FE4}">
      <dgm:prSet/>
      <dgm:spPr/>
      <dgm:t>
        <a:bodyPr/>
        <a:lstStyle/>
        <a:p>
          <a:endParaRPr lang="es-CO"/>
        </a:p>
      </dgm:t>
    </dgm:pt>
    <dgm:pt modelId="{56EA9165-40D0-4487-8085-3DFCA0119E13}" type="sibTrans" cxnId="{C7808709-B6A3-4EEA-918E-CAF3C3461FE4}">
      <dgm:prSet/>
      <dgm:spPr/>
      <dgm:t>
        <a:bodyPr/>
        <a:lstStyle/>
        <a:p>
          <a:endParaRPr lang="es-CO"/>
        </a:p>
      </dgm:t>
    </dgm:pt>
    <dgm:pt modelId="{4038977B-7AE7-4F89-A1AF-E3BF478A512F}">
      <dgm:prSet phldrT="[Texto]"/>
      <dgm:spPr/>
      <dgm:t>
        <a:bodyPr/>
        <a:lstStyle/>
        <a:p>
          <a:r>
            <a:rPr lang="es-CO" smtClean="0"/>
            <a:t>Auditoría de Gestión.</a:t>
          </a:r>
          <a:endParaRPr lang="es-CO" dirty="0"/>
        </a:p>
      </dgm:t>
    </dgm:pt>
    <dgm:pt modelId="{286BBA95-B79C-45E5-A062-7DAE44370780}" type="parTrans" cxnId="{2C2E2CE4-4362-4904-88E8-FA515CD25A3E}">
      <dgm:prSet/>
      <dgm:spPr/>
      <dgm:t>
        <a:bodyPr/>
        <a:lstStyle/>
        <a:p>
          <a:endParaRPr lang="es-CO"/>
        </a:p>
      </dgm:t>
    </dgm:pt>
    <dgm:pt modelId="{8858A22E-40AE-4539-B87D-C04897EC3CAB}" type="sibTrans" cxnId="{2C2E2CE4-4362-4904-88E8-FA515CD25A3E}">
      <dgm:prSet/>
      <dgm:spPr/>
      <dgm:t>
        <a:bodyPr/>
        <a:lstStyle/>
        <a:p>
          <a:endParaRPr lang="es-CO"/>
        </a:p>
      </dgm:t>
    </dgm:pt>
    <dgm:pt modelId="{AB27B6BA-86F3-4609-9064-C39301225692}">
      <dgm:prSet phldrT="[Texto]"/>
      <dgm:spPr/>
      <dgm:t>
        <a:bodyPr/>
        <a:lstStyle/>
        <a:p>
          <a:r>
            <a:rPr lang="es-CO" smtClean="0"/>
            <a:t>Evaluación “in situ”.</a:t>
          </a:r>
          <a:endParaRPr lang="es-CO" dirty="0"/>
        </a:p>
      </dgm:t>
    </dgm:pt>
    <dgm:pt modelId="{0238FBE4-2091-4842-9F1D-88EC5850809E}" type="parTrans" cxnId="{B9DFE386-93C9-45B9-B36B-86E3E1C8F35D}">
      <dgm:prSet/>
      <dgm:spPr/>
      <dgm:t>
        <a:bodyPr/>
        <a:lstStyle/>
        <a:p>
          <a:endParaRPr lang="es-CO"/>
        </a:p>
      </dgm:t>
    </dgm:pt>
    <dgm:pt modelId="{7E29F7C5-F20B-41F9-BC0E-3DF31EFB2ED6}" type="sibTrans" cxnId="{B9DFE386-93C9-45B9-B36B-86E3E1C8F35D}">
      <dgm:prSet/>
      <dgm:spPr/>
      <dgm:t>
        <a:bodyPr/>
        <a:lstStyle/>
        <a:p>
          <a:endParaRPr lang="es-CO"/>
        </a:p>
      </dgm:t>
    </dgm:pt>
    <dgm:pt modelId="{1FF0C413-DD02-411B-A828-8F012F82E807}" type="pres">
      <dgm:prSet presAssocID="{426C4A32-26E5-4629-9D88-1162318419E4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A1F70722-2FEC-43E3-9A23-B1F4E642EE64}" type="pres">
      <dgm:prSet presAssocID="{064469A7-2962-4514-AE1B-48CAD74B89F5}" presName="linNode" presStyleCnt="0"/>
      <dgm:spPr/>
      <dgm:t>
        <a:bodyPr/>
        <a:lstStyle/>
        <a:p>
          <a:endParaRPr lang="es-CO"/>
        </a:p>
      </dgm:t>
    </dgm:pt>
    <dgm:pt modelId="{AC37217A-60E8-4486-91D3-00ABFF0C9208}" type="pres">
      <dgm:prSet presAssocID="{064469A7-2962-4514-AE1B-48CAD74B89F5}" presName="parTx" presStyleLbl="revTx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2A249A0F-2B19-4081-B596-AFEEFB00AEC6}" type="pres">
      <dgm:prSet presAssocID="{064469A7-2962-4514-AE1B-48CAD74B89F5}" presName="bracket" presStyleLbl="parChTrans1D1" presStyleIdx="0" presStyleCnt="4"/>
      <dgm:spPr/>
      <dgm:t>
        <a:bodyPr/>
        <a:lstStyle/>
        <a:p>
          <a:endParaRPr lang="es-CO"/>
        </a:p>
      </dgm:t>
    </dgm:pt>
    <dgm:pt modelId="{43A07CAD-EEC5-498B-87A9-364C1ED77674}" type="pres">
      <dgm:prSet presAssocID="{064469A7-2962-4514-AE1B-48CAD74B89F5}" presName="spH" presStyleCnt="0"/>
      <dgm:spPr/>
      <dgm:t>
        <a:bodyPr/>
        <a:lstStyle/>
        <a:p>
          <a:endParaRPr lang="es-CO"/>
        </a:p>
      </dgm:t>
    </dgm:pt>
    <dgm:pt modelId="{63C88672-20D1-4CF1-8191-18C470C93209}" type="pres">
      <dgm:prSet presAssocID="{064469A7-2962-4514-AE1B-48CAD74B89F5}" presName="desTx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EA7DAB9F-CA13-4E53-A2E8-97396852C397}" type="pres">
      <dgm:prSet presAssocID="{7241934F-60BE-4D04-8C7C-C96DD0962BBB}" presName="spV" presStyleCnt="0"/>
      <dgm:spPr/>
      <dgm:t>
        <a:bodyPr/>
        <a:lstStyle/>
        <a:p>
          <a:endParaRPr lang="es-CO"/>
        </a:p>
      </dgm:t>
    </dgm:pt>
    <dgm:pt modelId="{78A4640A-F2E8-4336-ADA0-249E00029259}" type="pres">
      <dgm:prSet presAssocID="{51987483-877F-4768-8A56-8A26B0A33A8B}" presName="linNode" presStyleCnt="0"/>
      <dgm:spPr/>
      <dgm:t>
        <a:bodyPr/>
        <a:lstStyle/>
        <a:p>
          <a:endParaRPr lang="es-CO"/>
        </a:p>
      </dgm:t>
    </dgm:pt>
    <dgm:pt modelId="{48BF8545-62FB-48D0-BF6C-B1E5382DA192}" type="pres">
      <dgm:prSet presAssocID="{51987483-877F-4768-8A56-8A26B0A33A8B}" presName="parTx" presStyleLbl="revTx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F6011C12-C47D-48F7-AA89-AACEE724CC0F}" type="pres">
      <dgm:prSet presAssocID="{51987483-877F-4768-8A56-8A26B0A33A8B}" presName="bracket" presStyleLbl="parChTrans1D1" presStyleIdx="1" presStyleCnt="4"/>
      <dgm:spPr/>
      <dgm:t>
        <a:bodyPr/>
        <a:lstStyle/>
        <a:p>
          <a:endParaRPr lang="es-CO"/>
        </a:p>
      </dgm:t>
    </dgm:pt>
    <dgm:pt modelId="{47238512-0D02-4A31-94B1-6D5B163C7BF5}" type="pres">
      <dgm:prSet presAssocID="{51987483-877F-4768-8A56-8A26B0A33A8B}" presName="spH" presStyleCnt="0"/>
      <dgm:spPr/>
      <dgm:t>
        <a:bodyPr/>
        <a:lstStyle/>
        <a:p>
          <a:endParaRPr lang="es-CO"/>
        </a:p>
      </dgm:t>
    </dgm:pt>
    <dgm:pt modelId="{FFA7EAD1-296E-40CD-93AE-D6CD3F8417E2}" type="pres">
      <dgm:prSet presAssocID="{51987483-877F-4768-8A56-8A26B0A33A8B}" presName="desTx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E62F12E4-C6E3-4480-998F-B17D9120587B}" type="pres">
      <dgm:prSet presAssocID="{D029B079-DB6B-4379-B273-7C146FE0EEA6}" presName="spV" presStyleCnt="0"/>
      <dgm:spPr/>
      <dgm:t>
        <a:bodyPr/>
        <a:lstStyle/>
        <a:p>
          <a:endParaRPr lang="es-CO"/>
        </a:p>
      </dgm:t>
    </dgm:pt>
    <dgm:pt modelId="{E640907A-ED0D-4B8F-A8E5-C5DA86E877F5}" type="pres">
      <dgm:prSet presAssocID="{1F9DD779-B3BD-4AA0-AB13-C38650497F17}" presName="linNode" presStyleCnt="0"/>
      <dgm:spPr/>
      <dgm:t>
        <a:bodyPr/>
        <a:lstStyle/>
        <a:p>
          <a:endParaRPr lang="es-CO"/>
        </a:p>
      </dgm:t>
    </dgm:pt>
    <dgm:pt modelId="{3A7A7695-5B13-450E-98E6-6395BDCAAF31}" type="pres">
      <dgm:prSet presAssocID="{1F9DD779-B3BD-4AA0-AB13-C38650497F17}" presName="parTx" presStyleLbl="revTx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2F54AE2C-DE06-438F-A8AA-DDE061E301AA}" type="pres">
      <dgm:prSet presAssocID="{1F9DD779-B3BD-4AA0-AB13-C38650497F17}" presName="bracket" presStyleLbl="parChTrans1D1" presStyleIdx="2" presStyleCnt="4"/>
      <dgm:spPr/>
      <dgm:t>
        <a:bodyPr/>
        <a:lstStyle/>
        <a:p>
          <a:endParaRPr lang="es-CO"/>
        </a:p>
      </dgm:t>
    </dgm:pt>
    <dgm:pt modelId="{DF5E01D6-1158-4B96-B707-1E4299CF3401}" type="pres">
      <dgm:prSet presAssocID="{1F9DD779-B3BD-4AA0-AB13-C38650497F17}" presName="spH" presStyleCnt="0"/>
      <dgm:spPr/>
      <dgm:t>
        <a:bodyPr/>
        <a:lstStyle/>
        <a:p>
          <a:endParaRPr lang="es-CO"/>
        </a:p>
      </dgm:t>
    </dgm:pt>
    <dgm:pt modelId="{15E5D75E-3B36-4A58-8BE9-931EF235A6E1}" type="pres">
      <dgm:prSet presAssocID="{1F9DD779-B3BD-4AA0-AB13-C38650497F17}" presName="desTx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45794429-5C7D-4A87-90C2-776BC3E4D3FC}" type="pres">
      <dgm:prSet presAssocID="{7A8DC637-E2FC-4171-AF82-97293C88AB29}" presName="spV" presStyleCnt="0"/>
      <dgm:spPr/>
      <dgm:t>
        <a:bodyPr/>
        <a:lstStyle/>
        <a:p>
          <a:endParaRPr lang="es-CO"/>
        </a:p>
      </dgm:t>
    </dgm:pt>
    <dgm:pt modelId="{7AB7FEA2-7D00-4DA3-AC96-6A287E1D7443}" type="pres">
      <dgm:prSet presAssocID="{0ADB959F-9F28-45C2-A672-7ED00D86DF70}" presName="linNode" presStyleCnt="0"/>
      <dgm:spPr/>
      <dgm:t>
        <a:bodyPr/>
        <a:lstStyle/>
        <a:p>
          <a:endParaRPr lang="es-CO"/>
        </a:p>
      </dgm:t>
    </dgm:pt>
    <dgm:pt modelId="{3265399B-BC14-49E3-9B65-605C20A0A563}" type="pres">
      <dgm:prSet presAssocID="{0ADB959F-9F28-45C2-A672-7ED00D86DF70}" presName="parTx" presStyleLbl="revTx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22B9FB7D-296D-44AE-9DD2-23A0D7AF4879}" type="pres">
      <dgm:prSet presAssocID="{0ADB959F-9F28-45C2-A672-7ED00D86DF70}" presName="bracket" presStyleLbl="parChTrans1D1" presStyleIdx="3" presStyleCnt="4"/>
      <dgm:spPr/>
      <dgm:t>
        <a:bodyPr/>
        <a:lstStyle/>
        <a:p>
          <a:endParaRPr lang="es-CO"/>
        </a:p>
      </dgm:t>
    </dgm:pt>
    <dgm:pt modelId="{30F11A40-B457-44DA-A6D4-797AB82B39DF}" type="pres">
      <dgm:prSet presAssocID="{0ADB959F-9F28-45C2-A672-7ED00D86DF70}" presName="spH" presStyleCnt="0"/>
      <dgm:spPr/>
      <dgm:t>
        <a:bodyPr/>
        <a:lstStyle/>
        <a:p>
          <a:endParaRPr lang="es-CO"/>
        </a:p>
      </dgm:t>
    </dgm:pt>
    <dgm:pt modelId="{8F9952F8-B1A9-4540-925B-0EC7C52AAA8E}" type="pres">
      <dgm:prSet presAssocID="{0ADB959F-9F28-45C2-A672-7ED00D86DF70}" presName="desTx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604569E7-6D9E-4D1D-887D-D957A31A4A49}" type="presOf" srcId="{42E7FC2D-2B7E-43CA-A15D-5F66FCAB0376}" destId="{15E5D75E-3B36-4A58-8BE9-931EF235A6E1}" srcOrd="0" destOrd="0" presId="urn:diagrams.loki3.com/BracketList+Icon"/>
    <dgm:cxn modelId="{371C32F8-16A1-4B62-8EFC-F00A7EC5208E}" srcId="{1F9DD779-B3BD-4AA0-AB13-C38650497F17}" destId="{42E7FC2D-2B7E-43CA-A15D-5F66FCAB0376}" srcOrd="0" destOrd="0" parTransId="{6FF8BA45-6649-4B68-8C29-48F3C40B2F52}" sibTransId="{48EC2E3B-324A-48F1-A2EA-DEBB63BB0A6C}"/>
    <dgm:cxn modelId="{C7808709-B6A3-4EEA-918E-CAF3C3461FE4}" srcId="{1F9DD779-B3BD-4AA0-AB13-C38650497F17}" destId="{94EF06C5-D10C-4E82-8591-A41518A63741}" srcOrd="1" destOrd="0" parTransId="{F3B77353-5D14-401E-80C2-1EE8D9470BF9}" sibTransId="{56EA9165-40D0-4487-8085-3DFCA0119E13}"/>
    <dgm:cxn modelId="{C788FF65-8433-4E82-A3AA-9C2C97528D20}" type="presOf" srcId="{1DA678DE-1051-4BB0-B434-0E556E1FC305}" destId="{63C88672-20D1-4CF1-8191-18C470C93209}" srcOrd="0" destOrd="1" presId="urn:diagrams.loki3.com/BracketList+Icon"/>
    <dgm:cxn modelId="{9C1D5E67-4076-4E69-88C3-BBF88CD13624}" srcId="{426C4A32-26E5-4629-9D88-1162318419E4}" destId="{0ADB959F-9F28-45C2-A672-7ED00D86DF70}" srcOrd="3" destOrd="0" parTransId="{69B77398-2D68-4F89-AAFA-19A23C157FB3}" sibTransId="{EF4B8186-E0E6-458C-9D3B-267C11033752}"/>
    <dgm:cxn modelId="{17FE24C5-01BC-4CBD-9BC6-71BE6A6810B5}" type="presOf" srcId="{E18FA679-C340-414F-97A8-2AD9DDC996F2}" destId="{8F9952F8-B1A9-4540-925B-0EC7C52AAA8E}" srcOrd="0" destOrd="0" presId="urn:diagrams.loki3.com/BracketList+Icon"/>
    <dgm:cxn modelId="{92BEF929-CADA-4BAA-B3CE-2DE93B57A42C}" type="presOf" srcId="{94EF06C5-D10C-4E82-8591-A41518A63741}" destId="{15E5D75E-3B36-4A58-8BE9-931EF235A6E1}" srcOrd="0" destOrd="1" presId="urn:diagrams.loki3.com/BracketList+Icon"/>
    <dgm:cxn modelId="{BCA2FF3B-59A6-4E8E-86D2-657945359E28}" type="presOf" srcId="{51987483-877F-4768-8A56-8A26B0A33A8B}" destId="{48BF8545-62FB-48D0-BF6C-B1E5382DA192}" srcOrd="0" destOrd="0" presId="urn:diagrams.loki3.com/BracketList+Icon"/>
    <dgm:cxn modelId="{7EFE9324-5B8F-4A6F-BF04-08BD24C72182}" srcId="{426C4A32-26E5-4629-9D88-1162318419E4}" destId="{51987483-877F-4768-8A56-8A26B0A33A8B}" srcOrd="1" destOrd="0" parTransId="{C0C38A25-F317-48A5-9213-A82F9BC63CD6}" sibTransId="{D029B079-DB6B-4379-B273-7C146FE0EEA6}"/>
    <dgm:cxn modelId="{C3DAB3CB-E3BC-4D85-8372-D6A73756AFE7}" type="presOf" srcId="{9020ABD2-8684-4F92-A44E-D8BE295BEAEA}" destId="{FFA7EAD1-296E-40CD-93AE-D6CD3F8417E2}" srcOrd="0" destOrd="0" presId="urn:diagrams.loki3.com/BracketList+Icon"/>
    <dgm:cxn modelId="{4CF03190-3D7D-4669-9126-24291670C2D3}" srcId="{0ADB959F-9F28-45C2-A672-7ED00D86DF70}" destId="{E18FA679-C340-414F-97A8-2AD9DDC996F2}" srcOrd="0" destOrd="0" parTransId="{9230D270-C12A-4C34-8D22-110CF305C97D}" sibTransId="{819F8B20-0869-4239-8A25-7C7CA54A99C6}"/>
    <dgm:cxn modelId="{CAE07B39-3BDA-40C4-9CDF-6F7EC56872D9}" type="presOf" srcId="{4038977B-7AE7-4F89-A1AF-E3BF478A512F}" destId="{8F9952F8-B1A9-4540-925B-0EC7C52AAA8E}" srcOrd="0" destOrd="1" presId="urn:diagrams.loki3.com/BracketList+Icon"/>
    <dgm:cxn modelId="{6D072884-3760-45D7-A9F4-D38CAE00DC5E}" type="presOf" srcId="{1F9DD779-B3BD-4AA0-AB13-C38650497F17}" destId="{3A7A7695-5B13-450E-98E6-6395BDCAAF31}" srcOrd="0" destOrd="0" presId="urn:diagrams.loki3.com/BracketList+Icon"/>
    <dgm:cxn modelId="{B28EFC8A-7895-41FF-BA4D-256EC8E0941C}" type="presOf" srcId="{AB27B6BA-86F3-4609-9064-C39301225692}" destId="{8F9952F8-B1A9-4540-925B-0EC7C52AAA8E}" srcOrd="0" destOrd="2" presId="urn:diagrams.loki3.com/BracketList+Icon"/>
    <dgm:cxn modelId="{2C2E2CE4-4362-4904-88E8-FA515CD25A3E}" srcId="{0ADB959F-9F28-45C2-A672-7ED00D86DF70}" destId="{4038977B-7AE7-4F89-A1AF-E3BF478A512F}" srcOrd="1" destOrd="0" parTransId="{286BBA95-B79C-45E5-A062-7DAE44370780}" sibTransId="{8858A22E-40AE-4539-B87D-C04897EC3CAB}"/>
    <dgm:cxn modelId="{B7D0B82C-030A-496D-B07A-81AC124BCC69}" type="presOf" srcId="{426C4A32-26E5-4629-9D88-1162318419E4}" destId="{1FF0C413-DD02-411B-A828-8F012F82E807}" srcOrd="0" destOrd="0" presId="urn:diagrams.loki3.com/BracketList+Icon"/>
    <dgm:cxn modelId="{B6CE68F1-354D-48AA-A353-4D7206C14F10}" srcId="{426C4A32-26E5-4629-9D88-1162318419E4}" destId="{064469A7-2962-4514-AE1B-48CAD74B89F5}" srcOrd="0" destOrd="0" parTransId="{0F211821-030A-4EBD-B54E-3554C274DEE9}" sibTransId="{7241934F-60BE-4D04-8C7C-C96DD0962BBB}"/>
    <dgm:cxn modelId="{B9DFE386-93C9-45B9-B36B-86E3E1C8F35D}" srcId="{0ADB959F-9F28-45C2-A672-7ED00D86DF70}" destId="{AB27B6BA-86F3-4609-9064-C39301225692}" srcOrd="2" destOrd="0" parTransId="{0238FBE4-2091-4842-9F1D-88EC5850809E}" sibTransId="{7E29F7C5-F20B-41F9-BC0E-3DF31EFB2ED6}"/>
    <dgm:cxn modelId="{2E66DEF2-D063-4CEC-92C5-4452B4086114}" srcId="{064469A7-2962-4514-AE1B-48CAD74B89F5}" destId="{1DA678DE-1051-4BB0-B434-0E556E1FC305}" srcOrd="1" destOrd="0" parTransId="{821B1614-BDC7-4CEA-A5A9-61481E313CBC}" sibTransId="{3A68469D-EF37-4B0C-B895-7B9BBFF6B1E2}"/>
    <dgm:cxn modelId="{C155F778-5E34-40BA-BD44-29F2AE958725}" srcId="{51987483-877F-4768-8A56-8A26B0A33A8B}" destId="{9020ABD2-8684-4F92-A44E-D8BE295BEAEA}" srcOrd="0" destOrd="0" parTransId="{E231F7FC-3965-40DA-9129-486763F527B7}" sibTransId="{05C0A864-B1E8-4E23-AD3F-4E9FA62A70F8}"/>
    <dgm:cxn modelId="{379FA818-B5AE-4FB7-BEAB-8D5D84F6B6B4}" srcId="{064469A7-2962-4514-AE1B-48CAD74B89F5}" destId="{35DA1D30-9EC9-4EBE-9C91-9A643D32F9F5}" srcOrd="0" destOrd="0" parTransId="{549E60F3-BDB3-4FC6-A633-90881DA1F755}" sibTransId="{B99AD4D2-DC8D-441A-8483-3605EF280F8B}"/>
    <dgm:cxn modelId="{BFC89B9A-F827-4654-A43B-D46CCC166C28}" type="presOf" srcId="{064469A7-2962-4514-AE1B-48CAD74B89F5}" destId="{AC37217A-60E8-4486-91D3-00ABFF0C9208}" srcOrd="0" destOrd="0" presId="urn:diagrams.loki3.com/BracketList+Icon"/>
    <dgm:cxn modelId="{7036213C-7090-47C3-BCEE-2222D4F7079A}" type="presOf" srcId="{0ADB959F-9F28-45C2-A672-7ED00D86DF70}" destId="{3265399B-BC14-49E3-9B65-605C20A0A563}" srcOrd="0" destOrd="0" presId="urn:diagrams.loki3.com/BracketList+Icon"/>
    <dgm:cxn modelId="{FE35F401-2A10-41C4-90FC-A0EA4C1EDDDB}" type="presOf" srcId="{35DA1D30-9EC9-4EBE-9C91-9A643D32F9F5}" destId="{63C88672-20D1-4CF1-8191-18C470C93209}" srcOrd="0" destOrd="0" presId="urn:diagrams.loki3.com/BracketList+Icon"/>
    <dgm:cxn modelId="{0B8A280E-DA91-46CC-B22E-2E2E65536E72}" srcId="{426C4A32-26E5-4629-9D88-1162318419E4}" destId="{1F9DD779-B3BD-4AA0-AB13-C38650497F17}" srcOrd="2" destOrd="0" parTransId="{DFA3DED5-4C55-44FA-81F7-4696CEA92428}" sibTransId="{7A8DC637-E2FC-4171-AF82-97293C88AB29}"/>
    <dgm:cxn modelId="{262FAA39-E7F5-43F2-8471-C31BBE8D2652}" type="presParOf" srcId="{1FF0C413-DD02-411B-A828-8F012F82E807}" destId="{A1F70722-2FEC-43E3-9A23-B1F4E642EE64}" srcOrd="0" destOrd="0" presId="urn:diagrams.loki3.com/BracketList+Icon"/>
    <dgm:cxn modelId="{04AFE37F-9873-436E-A8BB-E723AC3C825B}" type="presParOf" srcId="{A1F70722-2FEC-43E3-9A23-B1F4E642EE64}" destId="{AC37217A-60E8-4486-91D3-00ABFF0C9208}" srcOrd="0" destOrd="0" presId="urn:diagrams.loki3.com/BracketList+Icon"/>
    <dgm:cxn modelId="{C4F94714-ABE5-4F8B-9BA9-0C64DC92C812}" type="presParOf" srcId="{A1F70722-2FEC-43E3-9A23-B1F4E642EE64}" destId="{2A249A0F-2B19-4081-B596-AFEEFB00AEC6}" srcOrd="1" destOrd="0" presId="urn:diagrams.loki3.com/BracketList+Icon"/>
    <dgm:cxn modelId="{9BD6111D-256A-490B-95C1-FC46CA255188}" type="presParOf" srcId="{A1F70722-2FEC-43E3-9A23-B1F4E642EE64}" destId="{43A07CAD-EEC5-498B-87A9-364C1ED77674}" srcOrd="2" destOrd="0" presId="urn:diagrams.loki3.com/BracketList+Icon"/>
    <dgm:cxn modelId="{9DC10980-114D-4226-BD6A-C571DF533D2A}" type="presParOf" srcId="{A1F70722-2FEC-43E3-9A23-B1F4E642EE64}" destId="{63C88672-20D1-4CF1-8191-18C470C93209}" srcOrd="3" destOrd="0" presId="urn:diagrams.loki3.com/BracketList+Icon"/>
    <dgm:cxn modelId="{D248C74C-8EBC-4AE2-BD91-82819BBAA98F}" type="presParOf" srcId="{1FF0C413-DD02-411B-A828-8F012F82E807}" destId="{EA7DAB9F-CA13-4E53-A2E8-97396852C397}" srcOrd="1" destOrd="0" presId="urn:diagrams.loki3.com/BracketList+Icon"/>
    <dgm:cxn modelId="{CA0D2E4F-3073-4F65-9064-0E22778D1B62}" type="presParOf" srcId="{1FF0C413-DD02-411B-A828-8F012F82E807}" destId="{78A4640A-F2E8-4336-ADA0-249E00029259}" srcOrd="2" destOrd="0" presId="urn:diagrams.loki3.com/BracketList+Icon"/>
    <dgm:cxn modelId="{10D41102-A651-4023-A75C-5A95BF3242B2}" type="presParOf" srcId="{78A4640A-F2E8-4336-ADA0-249E00029259}" destId="{48BF8545-62FB-48D0-BF6C-B1E5382DA192}" srcOrd="0" destOrd="0" presId="urn:diagrams.loki3.com/BracketList+Icon"/>
    <dgm:cxn modelId="{7A9CBEFE-E6E7-40BA-9582-09CF054830CB}" type="presParOf" srcId="{78A4640A-F2E8-4336-ADA0-249E00029259}" destId="{F6011C12-C47D-48F7-AA89-AACEE724CC0F}" srcOrd="1" destOrd="0" presId="urn:diagrams.loki3.com/BracketList+Icon"/>
    <dgm:cxn modelId="{0075A2C4-550E-480C-A1E6-165597285366}" type="presParOf" srcId="{78A4640A-F2E8-4336-ADA0-249E00029259}" destId="{47238512-0D02-4A31-94B1-6D5B163C7BF5}" srcOrd="2" destOrd="0" presId="urn:diagrams.loki3.com/BracketList+Icon"/>
    <dgm:cxn modelId="{AD9C5FB5-33CB-485E-87E8-B76C6A94BE2E}" type="presParOf" srcId="{78A4640A-F2E8-4336-ADA0-249E00029259}" destId="{FFA7EAD1-296E-40CD-93AE-D6CD3F8417E2}" srcOrd="3" destOrd="0" presId="urn:diagrams.loki3.com/BracketList+Icon"/>
    <dgm:cxn modelId="{9A75017D-E8AC-46BA-86EC-843A7D603AF8}" type="presParOf" srcId="{1FF0C413-DD02-411B-A828-8F012F82E807}" destId="{E62F12E4-C6E3-4480-998F-B17D9120587B}" srcOrd="3" destOrd="0" presId="urn:diagrams.loki3.com/BracketList+Icon"/>
    <dgm:cxn modelId="{59305589-93A4-4242-A422-457C69E8C106}" type="presParOf" srcId="{1FF0C413-DD02-411B-A828-8F012F82E807}" destId="{E640907A-ED0D-4B8F-A8E5-C5DA86E877F5}" srcOrd="4" destOrd="0" presId="urn:diagrams.loki3.com/BracketList+Icon"/>
    <dgm:cxn modelId="{B2D253D7-F2EE-4C08-A401-CB3A522228A2}" type="presParOf" srcId="{E640907A-ED0D-4B8F-A8E5-C5DA86E877F5}" destId="{3A7A7695-5B13-450E-98E6-6395BDCAAF31}" srcOrd="0" destOrd="0" presId="urn:diagrams.loki3.com/BracketList+Icon"/>
    <dgm:cxn modelId="{4370C5F7-EDEC-4E84-87A0-3FCE95EB2B08}" type="presParOf" srcId="{E640907A-ED0D-4B8F-A8E5-C5DA86E877F5}" destId="{2F54AE2C-DE06-438F-A8AA-DDE061E301AA}" srcOrd="1" destOrd="0" presId="urn:diagrams.loki3.com/BracketList+Icon"/>
    <dgm:cxn modelId="{C1B98A7C-E157-48F5-8341-9754E9903913}" type="presParOf" srcId="{E640907A-ED0D-4B8F-A8E5-C5DA86E877F5}" destId="{DF5E01D6-1158-4B96-B707-1E4299CF3401}" srcOrd="2" destOrd="0" presId="urn:diagrams.loki3.com/BracketList+Icon"/>
    <dgm:cxn modelId="{7929C8A7-3FA3-4F2D-984D-EFB9DF0A0831}" type="presParOf" srcId="{E640907A-ED0D-4B8F-A8E5-C5DA86E877F5}" destId="{15E5D75E-3B36-4A58-8BE9-931EF235A6E1}" srcOrd="3" destOrd="0" presId="urn:diagrams.loki3.com/BracketList+Icon"/>
    <dgm:cxn modelId="{DFB8F95D-6B04-4593-A2BA-50AC13FC32A5}" type="presParOf" srcId="{1FF0C413-DD02-411B-A828-8F012F82E807}" destId="{45794429-5C7D-4A87-90C2-776BC3E4D3FC}" srcOrd="5" destOrd="0" presId="urn:diagrams.loki3.com/BracketList+Icon"/>
    <dgm:cxn modelId="{7B6B3CEA-43DB-4F65-8EE8-1EED5C65DA26}" type="presParOf" srcId="{1FF0C413-DD02-411B-A828-8F012F82E807}" destId="{7AB7FEA2-7D00-4DA3-AC96-6A287E1D7443}" srcOrd="6" destOrd="0" presId="urn:diagrams.loki3.com/BracketList+Icon"/>
    <dgm:cxn modelId="{927707FA-45D8-46D1-9609-0EBEAA000002}" type="presParOf" srcId="{7AB7FEA2-7D00-4DA3-AC96-6A287E1D7443}" destId="{3265399B-BC14-49E3-9B65-605C20A0A563}" srcOrd="0" destOrd="0" presId="urn:diagrams.loki3.com/BracketList+Icon"/>
    <dgm:cxn modelId="{8D162224-BC01-4EFA-841E-7D5797A62DE8}" type="presParOf" srcId="{7AB7FEA2-7D00-4DA3-AC96-6A287E1D7443}" destId="{22B9FB7D-296D-44AE-9DD2-23A0D7AF4879}" srcOrd="1" destOrd="0" presId="urn:diagrams.loki3.com/BracketList+Icon"/>
    <dgm:cxn modelId="{68D7E61C-EF09-4D22-AFDA-00685D4DAAD6}" type="presParOf" srcId="{7AB7FEA2-7D00-4DA3-AC96-6A287E1D7443}" destId="{30F11A40-B457-44DA-A6D4-797AB82B39DF}" srcOrd="2" destOrd="0" presId="urn:diagrams.loki3.com/BracketList+Icon"/>
    <dgm:cxn modelId="{97D1B998-D0D1-43CB-BEA1-BDD69971DD65}" type="presParOf" srcId="{7AB7FEA2-7D00-4DA3-AC96-6A287E1D7443}" destId="{8F9952F8-B1A9-4540-925B-0EC7C52AAA8E}" srcOrd="3" destOrd="0" presId="urn:diagrams.loki3.com/BracketList+Icon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20.xml><?xml version="1.0" encoding="utf-8"?>
<dgm:dataModel xmlns:dgm="http://schemas.openxmlformats.org/drawingml/2006/diagram" xmlns:a="http://schemas.openxmlformats.org/drawingml/2006/main">
  <dgm:ptLst>
    <dgm:pt modelId="{878A4540-B42D-4B36-A51A-97C8D092CE60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s-CO"/>
        </a:p>
      </dgm:t>
    </dgm:pt>
    <dgm:pt modelId="{0769F2A0-D2DB-46A2-B4C8-A5DA85076CF9}">
      <dgm:prSet custT="1"/>
      <dgm:spPr>
        <a:solidFill>
          <a:schemeClr val="accent6">
            <a:lumMod val="75000"/>
          </a:schemeClr>
        </a:solidFill>
      </dgm:spPr>
      <dgm:t>
        <a:bodyPr/>
        <a:lstStyle/>
        <a:p>
          <a:pPr rtl="0"/>
          <a:r>
            <a:rPr lang="es-CO" sz="2000" b="1" smtClean="0"/>
            <a:t>Secretaria de Educación Departamental del Chocó </a:t>
          </a:r>
          <a:endParaRPr lang="es-CO" sz="2000" dirty="0"/>
        </a:p>
      </dgm:t>
    </dgm:pt>
    <dgm:pt modelId="{A0ACEB8C-3C90-4AEA-AE52-5B1B68D3C07E}" type="parTrans" cxnId="{5117B358-8334-4AB1-8DFB-25F4FB3DCFA5}">
      <dgm:prSet/>
      <dgm:spPr/>
      <dgm:t>
        <a:bodyPr/>
        <a:lstStyle/>
        <a:p>
          <a:endParaRPr lang="es-CO" sz="3200">
            <a:solidFill>
              <a:srgbClr val="002060"/>
            </a:solidFill>
          </a:endParaRPr>
        </a:p>
      </dgm:t>
    </dgm:pt>
    <dgm:pt modelId="{8CEFDCCC-7744-4471-B9AE-93CC23652FDE}" type="sibTrans" cxnId="{5117B358-8334-4AB1-8DFB-25F4FB3DCFA5}">
      <dgm:prSet/>
      <dgm:spPr/>
      <dgm:t>
        <a:bodyPr/>
        <a:lstStyle/>
        <a:p>
          <a:endParaRPr lang="es-CO" sz="3200">
            <a:solidFill>
              <a:srgbClr val="002060"/>
            </a:solidFill>
          </a:endParaRPr>
        </a:p>
      </dgm:t>
    </dgm:pt>
    <dgm:pt modelId="{D37AF467-3178-4414-A19F-0084FE83585D}">
      <dgm:prSet custT="1"/>
      <dgm:spPr>
        <a:solidFill>
          <a:schemeClr val="accent6">
            <a:lumMod val="75000"/>
          </a:schemeClr>
        </a:solidFill>
      </dgm:spPr>
      <dgm:t>
        <a:bodyPr/>
        <a:lstStyle/>
        <a:p>
          <a:pPr rtl="0"/>
          <a:r>
            <a:rPr lang="es-CO" sz="2000" b="1" dirty="0" smtClean="0"/>
            <a:t>Secretaría de Educación Municipal Certificada de Popayán</a:t>
          </a:r>
          <a:endParaRPr lang="es-CO" sz="2000" dirty="0"/>
        </a:p>
      </dgm:t>
    </dgm:pt>
    <dgm:pt modelId="{3B063C2B-BFAF-47F0-9E7A-3671AEAF7F95}" type="parTrans" cxnId="{7C3D5D69-5E3B-4A73-B995-B881B5169067}">
      <dgm:prSet/>
      <dgm:spPr/>
      <dgm:t>
        <a:bodyPr/>
        <a:lstStyle/>
        <a:p>
          <a:endParaRPr lang="es-CO" sz="3200">
            <a:solidFill>
              <a:srgbClr val="002060"/>
            </a:solidFill>
          </a:endParaRPr>
        </a:p>
      </dgm:t>
    </dgm:pt>
    <dgm:pt modelId="{DA765FAE-A9EA-40D4-AA5E-5A2B1E817270}" type="sibTrans" cxnId="{7C3D5D69-5E3B-4A73-B995-B881B5169067}">
      <dgm:prSet/>
      <dgm:spPr/>
      <dgm:t>
        <a:bodyPr/>
        <a:lstStyle/>
        <a:p>
          <a:endParaRPr lang="es-CO" sz="3200">
            <a:solidFill>
              <a:srgbClr val="002060"/>
            </a:solidFill>
          </a:endParaRPr>
        </a:p>
      </dgm:t>
    </dgm:pt>
    <dgm:pt modelId="{D558DAF5-8E03-4011-A746-22C9EA2D2A3D}" type="pres">
      <dgm:prSet presAssocID="{878A4540-B42D-4B36-A51A-97C8D092CE60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s-CO"/>
        </a:p>
      </dgm:t>
    </dgm:pt>
    <dgm:pt modelId="{99713DA4-001A-4AFA-8F25-018981599A13}" type="pres">
      <dgm:prSet presAssocID="{878A4540-B42D-4B36-A51A-97C8D092CE60}" presName="Name1" presStyleCnt="0"/>
      <dgm:spPr/>
      <dgm:t>
        <a:bodyPr/>
        <a:lstStyle/>
        <a:p>
          <a:endParaRPr lang="es-CO"/>
        </a:p>
      </dgm:t>
    </dgm:pt>
    <dgm:pt modelId="{EA3F9FAF-A0AA-4624-9805-0FB7E0404FA5}" type="pres">
      <dgm:prSet presAssocID="{878A4540-B42D-4B36-A51A-97C8D092CE60}" presName="cycle" presStyleCnt="0"/>
      <dgm:spPr/>
      <dgm:t>
        <a:bodyPr/>
        <a:lstStyle/>
        <a:p>
          <a:endParaRPr lang="es-CO"/>
        </a:p>
      </dgm:t>
    </dgm:pt>
    <dgm:pt modelId="{C7DBCA75-3265-40A8-8C53-E47635701186}" type="pres">
      <dgm:prSet presAssocID="{878A4540-B42D-4B36-A51A-97C8D092CE60}" presName="srcNode" presStyleLbl="node1" presStyleIdx="0" presStyleCnt="2"/>
      <dgm:spPr/>
      <dgm:t>
        <a:bodyPr/>
        <a:lstStyle/>
        <a:p>
          <a:endParaRPr lang="es-CO"/>
        </a:p>
      </dgm:t>
    </dgm:pt>
    <dgm:pt modelId="{D3D686D0-99C3-4190-B6A0-20DCCA5E384B}" type="pres">
      <dgm:prSet presAssocID="{878A4540-B42D-4B36-A51A-97C8D092CE60}" presName="conn" presStyleLbl="parChTrans1D2" presStyleIdx="0" presStyleCnt="1"/>
      <dgm:spPr/>
      <dgm:t>
        <a:bodyPr/>
        <a:lstStyle/>
        <a:p>
          <a:endParaRPr lang="es-CO"/>
        </a:p>
      </dgm:t>
    </dgm:pt>
    <dgm:pt modelId="{5837575D-0215-4F44-AE7F-7D29753CF41E}" type="pres">
      <dgm:prSet presAssocID="{878A4540-B42D-4B36-A51A-97C8D092CE60}" presName="extraNode" presStyleLbl="node1" presStyleIdx="0" presStyleCnt="2"/>
      <dgm:spPr/>
      <dgm:t>
        <a:bodyPr/>
        <a:lstStyle/>
        <a:p>
          <a:endParaRPr lang="es-CO"/>
        </a:p>
      </dgm:t>
    </dgm:pt>
    <dgm:pt modelId="{A218D4C8-DB7E-426F-88A6-F6F2701B7B46}" type="pres">
      <dgm:prSet presAssocID="{878A4540-B42D-4B36-A51A-97C8D092CE60}" presName="dstNode" presStyleLbl="node1" presStyleIdx="0" presStyleCnt="2"/>
      <dgm:spPr/>
      <dgm:t>
        <a:bodyPr/>
        <a:lstStyle/>
        <a:p>
          <a:endParaRPr lang="es-CO"/>
        </a:p>
      </dgm:t>
    </dgm:pt>
    <dgm:pt modelId="{9D428FBD-253A-4012-A4A5-2E44C8821FD9}" type="pres">
      <dgm:prSet presAssocID="{0769F2A0-D2DB-46A2-B4C8-A5DA85076CF9}" presName="text_1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9DE401FE-64DB-4794-A538-7760B6CAD7A5}" type="pres">
      <dgm:prSet presAssocID="{0769F2A0-D2DB-46A2-B4C8-A5DA85076CF9}" presName="accent_1" presStyleCnt="0"/>
      <dgm:spPr/>
      <dgm:t>
        <a:bodyPr/>
        <a:lstStyle/>
        <a:p>
          <a:endParaRPr lang="es-CO"/>
        </a:p>
      </dgm:t>
    </dgm:pt>
    <dgm:pt modelId="{DCEC000F-4A08-4832-9DCF-5901FF569EB7}" type="pres">
      <dgm:prSet presAssocID="{0769F2A0-D2DB-46A2-B4C8-A5DA85076CF9}" presName="accentRepeatNode" presStyleLbl="solidFgAcc1" presStyleIdx="0" presStyleCnt="2"/>
      <dgm:spPr/>
      <dgm:t>
        <a:bodyPr/>
        <a:lstStyle/>
        <a:p>
          <a:endParaRPr lang="es-CO"/>
        </a:p>
      </dgm:t>
    </dgm:pt>
    <dgm:pt modelId="{2A4A9346-289E-410F-B168-97B69C7A4C00}" type="pres">
      <dgm:prSet presAssocID="{D37AF467-3178-4414-A19F-0084FE83585D}" presName="text_2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6F1EF642-0099-4189-94F5-97A23E42674D}" type="pres">
      <dgm:prSet presAssocID="{D37AF467-3178-4414-A19F-0084FE83585D}" presName="accent_2" presStyleCnt="0"/>
      <dgm:spPr/>
    </dgm:pt>
    <dgm:pt modelId="{317D7CD7-2790-4434-BD6B-E7BEFAB7AF3F}" type="pres">
      <dgm:prSet presAssocID="{D37AF467-3178-4414-A19F-0084FE83585D}" presName="accentRepeatNode" presStyleLbl="solidFgAcc1" presStyleIdx="1" presStyleCnt="2"/>
      <dgm:spPr/>
      <dgm:t>
        <a:bodyPr/>
        <a:lstStyle/>
        <a:p>
          <a:endParaRPr lang="es-CO"/>
        </a:p>
      </dgm:t>
    </dgm:pt>
  </dgm:ptLst>
  <dgm:cxnLst>
    <dgm:cxn modelId="{378CE277-15F2-4034-9BE6-137974597B8D}" type="presOf" srcId="{878A4540-B42D-4B36-A51A-97C8D092CE60}" destId="{D558DAF5-8E03-4011-A746-22C9EA2D2A3D}" srcOrd="0" destOrd="0" presId="urn:microsoft.com/office/officeart/2008/layout/VerticalCurvedList"/>
    <dgm:cxn modelId="{13B015EA-B805-48FE-8797-2323038F2132}" type="presOf" srcId="{8CEFDCCC-7744-4471-B9AE-93CC23652FDE}" destId="{D3D686D0-99C3-4190-B6A0-20DCCA5E384B}" srcOrd="0" destOrd="0" presId="urn:microsoft.com/office/officeart/2008/layout/VerticalCurvedList"/>
    <dgm:cxn modelId="{7C3D5D69-5E3B-4A73-B995-B881B5169067}" srcId="{878A4540-B42D-4B36-A51A-97C8D092CE60}" destId="{D37AF467-3178-4414-A19F-0084FE83585D}" srcOrd="1" destOrd="0" parTransId="{3B063C2B-BFAF-47F0-9E7A-3671AEAF7F95}" sibTransId="{DA765FAE-A9EA-40D4-AA5E-5A2B1E817270}"/>
    <dgm:cxn modelId="{B01DDCDA-27E9-4970-BCA1-3D19BDD9B83C}" type="presOf" srcId="{D37AF467-3178-4414-A19F-0084FE83585D}" destId="{2A4A9346-289E-410F-B168-97B69C7A4C00}" srcOrd="0" destOrd="0" presId="urn:microsoft.com/office/officeart/2008/layout/VerticalCurvedList"/>
    <dgm:cxn modelId="{5117B358-8334-4AB1-8DFB-25F4FB3DCFA5}" srcId="{878A4540-B42D-4B36-A51A-97C8D092CE60}" destId="{0769F2A0-D2DB-46A2-B4C8-A5DA85076CF9}" srcOrd="0" destOrd="0" parTransId="{A0ACEB8C-3C90-4AEA-AE52-5B1B68D3C07E}" sibTransId="{8CEFDCCC-7744-4471-B9AE-93CC23652FDE}"/>
    <dgm:cxn modelId="{89754770-0AC1-492D-BA41-99B7B4F78BAE}" type="presOf" srcId="{0769F2A0-D2DB-46A2-B4C8-A5DA85076CF9}" destId="{9D428FBD-253A-4012-A4A5-2E44C8821FD9}" srcOrd="0" destOrd="0" presId="urn:microsoft.com/office/officeart/2008/layout/VerticalCurvedList"/>
    <dgm:cxn modelId="{1C7326AD-073D-4BC4-9B72-C631AEEFA7A6}" type="presParOf" srcId="{D558DAF5-8E03-4011-A746-22C9EA2D2A3D}" destId="{99713DA4-001A-4AFA-8F25-018981599A13}" srcOrd="0" destOrd="0" presId="urn:microsoft.com/office/officeart/2008/layout/VerticalCurvedList"/>
    <dgm:cxn modelId="{3BB8F699-3B12-452A-8C4F-D3533C0CEA86}" type="presParOf" srcId="{99713DA4-001A-4AFA-8F25-018981599A13}" destId="{EA3F9FAF-A0AA-4624-9805-0FB7E0404FA5}" srcOrd="0" destOrd="0" presId="urn:microsoft.com/office/officeart/2008/layout/VerticalCurvedList"/>
    <dgm:cxn modelId="{873C0243-F28B-48EE-9EBB-904A6E2CF6AA}" type="presParOf" srcId="{EA3F9FAF-A0AA-4624-9805-0FB7E0404FA5}" destId="{C7DBCA75-3265-40A8-8C53-E47635701186}" srcOrd="0" destOrd="0" presId="urn:microsoft.com/office/officeart/2008/layout/VerticalCurvedList"/>
    <dgm:cxn modelId="{56E57AB1-6D57-412B-80C2-02F9ECD66256}" type="presParOf" srcId="{EA3F9FAF-A0AA-4624-9805-0FB7E0404FA5}" destId="{D3D686D0-99C3-4190-B6A0-20DCCA5E384B}" srcOrd="1" destOrd="0" presId="urn:microsoft.com/office/officeart/2008/layout/VerticalCurvedList"/>
    <dgm:cxn modelId="{4E026AE3-6DA2-4480-AD39-8BED69158753}" type="presParOf" srcId="{EA3F9FAF-A0AA-4624-9805-0FB7E0404FA5}" destId="{5837575D-0215-4F44-AE7F-7D29753CF41E}" srcOrd="2" destOrd="0" presId="urn:microsoft.com/office/officeart/2008/layout/VerticalCurvedList"/>
    <dgm:cxn modelId="{BD3F48BC-25B5-49DC-A6D2-3C0E21D61BB5}" type="presParOf" srcId="{EA3F9FAF-A0AA-4624-9805-0FB7E0404FA5}" destId="{A218D4C8-DB7E-426F-88A6-F6F2701B7B46}" srcOrd="3" destOrd="0" presId="urn:microsoft.com/office/officeart/2008/layout/VerticalCurvedList"/>
    <dgm:cxn modelId="{DE5B4A5B-9D0B-4443-9C64-4831368D30FA}" type="presParOf" srcId="{99713DA4-001A-4AFA-8F25-018981599A13}" destId="{9D428FBD-253A-4012-A4A5-2E44C8821FD9}" srcOrd="1" destOrd="0" presId="urn:microsoft.com/office/officeart/2008/layout/VerticalCurvedList"/>
    <dgm:cxn modelId="{EFB6A37A-B7D6-419A-8ECA-E36EB72855E1}" type="presParOf" srcId="{99713DA4-001A-4AFA-8F25-018981599A13}" destId="{9DE401FE-64DB-4794-A538-7760B6CAD7A5}" srcOrd="2" destOrd="0" presId="urn:microsoft.com/office/officeart/2008/layout/VerticalCurvedList"/>
    <dgm:cxn modelId="{FC442B50-0D78-4D5D-BA0C-0DB871FCCC25}" type="presParOf" srcId="{9DE401FE-64DB-4794-A538-7760B6CAD7A5}" destId="{DCEC000F-4A08-4832-9DCF-5901FF569EB7}" srcOrd="0" destOrd="0" presId="urn:microsoft.com/office/officeart/2008/layout/VerticalCurvedList"/>
    <dgm:cxn modelId="{7A97A4CA-FE55-411E-B86C-686AA42EFD04}" type="presParOf" srcId="{99713DA4-001A-4AFA-8F25-018981599A13}" destId="{2A4A9346-289E-410F-B168-97B69C7A4C00}" srcOrd="3" destOrd="0" presId="urn:microsoft.com/office/officeart/2008/layout/VerticalCurvedList"/>
    <dgm:cxn modelId="{842225F9-3B1F-41EC-BB7F-7978B52ADC08}" type="presParOf" srcId="{99713DA4-001A-4AFA-8F25-018981599A13}" destId="{6F1EF642-0099-4189-94F5-97A23E42674D}" srcOrd="4" destOrd="0" presId="urn:microsoft.com/office/officeart/2008/layout/VerticalCurvedList"/>
    <dgm:cxn modelId="{87E1ADA0-CAFC-4B3E-820C-2FB8FC899979}" type="presParOf" srcId="{6F1EF642-0099-4189-94F5-97A23E42674D}" destId="{317D7CD7-2790-4434-BD6B-E7BEFAB7AF3F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21.xml><?xml version="1.0" encoding="utf-8"?>
<dgm:dataModel xmlns:dgm="http://schemas.openxmlformats.org/drawingml/2006/diagram" xmlns:a="http://schemas.openxmlformats.org/drawingml/2006/main">
  <dgm:ptLst>
    <dgm:pt modelId="{878A4540-B42D-4B36-A51A-97C8D092CE60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2" csCatId="colorful" phldr="1"/>
      <dgm:spPr/>
      <dgm:t>
        <a:bodyPr/>
        <a:lstStyle/>
        <a:p>
          <a:endParaRPr lang="es-CO"/>
        </a:p>
      </dgm:t>
    </dgm:pt>
    <dgm:pt modelId="{0769F2A0-D2DB-46A2-B4C8-A5DA85076CF9}">
      <dgm:prSet custT="1"/>
      <dgm:spPr>
        <a:solidFill>
          <a:schemeClr val="accent6">
            <a:lumMod val="75000"/>
          </a:schemeClr>
        </a:solidFill>
      </dgm:spPr>
      <dgm:t>
        <a:bodyPr/>
        <a:lstStyle/>
        <a:p>
          <a:pPr rtl="0"/>
          <a:r>
            <a:rPr lang="es-CO" sz="2000" b="1" dirty="0" smtClean="0"/>
            <a:t>Secretaría de Educación Certificada de Pasto</a:t>
          </a:r>
          <a:endParaRPr lang="es-CO" sz="2000" dirty="0"/>
        </a:p>
      </dgm:t>
    </dgm:pt>
    <dgm:pt modelId="{A0ACEB8C-3C90-4AEA-AE52-5B1B68D3C07E}" type="parTrans" cxnId="{5117B358-8334-4AB1-8DFB-25F4FB3DCFA5}">
      <dgm:prSet/>
      <dgm:spPr/>
      <dgm:t>
        <a:bodyPr/>
        <a:lstStyle/>
        <a:p>
          <a:endParaRPr lang="es-CO" sz="3200">
            <a:solidFill>
              <a:srgbClr val="002060"/>
            </a:solidFill>
          </a:endParaRPr>
        </a:p>
      </dgm:t>
    </dgm:pt>
    <dgm:pt modelId="{8CEFDCCC-7744-4471-B9AE-93CC23652FDE}" type="sibTrans" cxnId="{5117B358-8334-4AB1-8DFB-25F4FB3DCFA5}">
      <dgm:prSet/>
      <dgm:spPr/>
      <dgm:t>
        <a:bodyPr/>
        <a:lstStyle/>
        <a:p>
          <a:endParaRPr lang="es-CO" sz="3200">
            <a:solidFill>
              <a:srgbClr val="002060"/>
            </a:solidFill>
          </a:endParaRPr>
        </a:p>
      </dgm:t>
    </dgm:pt>
    <dgm:pt modelId="{D37AF467-3178-4414-A19F-0084FE83585D}">
      <dgm:prSet custT="1"/>
      <dgm:spPr>
        <a:solidFill>
          <a:schemeClr val="accent6">
            <a:lumMod val="75000"/>
          </a:schemeClr>
        </a:solidFill>
      </dgm:spPr>
      <dgm:t>
        <a:bodyPr/>
        <a:lstStyle/>
        <a:p>
          <a:pPr rtl="0"/>
          <a:r>
            <a:rPr lang="es-CO" sz="2000" b="1" dirty="0" smtClean="0"/>
            <a:t>Secretaría de Educación Certificada de Sucre</a:t>
          </a:r>
          <a:endParaRPr lang="es-CO" sz="2000" dirty="0"/>
        </a:p>
      </dgm:t>
    </dgm:pt>
    <dgm:pt modelId="{3B063C2B-BFAF-47F0-9E7A-3671AEAF7F95}" type="parTrans" cxnId="{7C3D5D69-5E3B-4A73-B995-B881B5169067}">
      <dgm:prSet/>
      <dgm:spPr/>
      <dgm:t>
        <a:bodyPr/>
        <a:lstStyle/>
        <a:p>
          <a:endParaRPr lang="es-CO" sz="3200">
            <a:solidFill>
              <a:srgbClr val="002060"/>
            </a:solidFill>
          </a:endParaRPr>
        </a:p>
      </dgm:t>
    </dgm:pt>
    <dgm:pt modelId="{DA765FAE-A9EA-40D4-AA5E-5A2B1E817270}" type="sibTrans" cxnId="{7C3D5D69-5E3B-4A73-B995-B881B5169067}">
      <dgm:prSet/>
      <dgm:spPr/>
      <dgm:t>
        <a:bodyPr/>
        <a:lstStyle/>
        <a:p>
          <a:endParaRPr lang="es-CO" sz="3200">
            <a:solidFill>
              <a:srgbClr val="002060"/>
            </a:solidFill>
          </a:endParaRPr>
        </a:p>
      </dgm:t>
    </dgm:pt>
    <dgm:pt modelId="{D558DAF5-8E03-4011-A746-22C9EA2D2A3D}" type="pres">
      <dgm:prSet presAssocID="{878A4540-B42D-4B36-A51A-97C8D092CE60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s-CO"/>
        </a:p>
      </dgm:t>
    </dgm:pt>
    <dgm:pt modelId="{99713DA4-001A-4AFA-8F25-018981599A13}" type="pres">
      <dgm:prSet presAssocID="{878A4540-B42D-4B36-A51A-97C8D092CE60}" presName="Name1" presStyleCnt="0"/>
      <dgm:spPr/>
      <dgm:t>
        <a:bodyPr/>
        <a:lstStyle/>
        <a:p>
          <a:endParaRPr lang="es-CO"/>
        </a:p>
      </dgm:t>
    </dgm:pt>
    <dgm:pt modelId="{EA3F9FAF-A0AA-4624-9805-0FB7E0404FA5}" type="pres">
      <dgm:prSet presAssocID="{878A4540-B42D-4B36-A51A-97C8D092CE60}" presName="cycle" presStyleCnt="0"/>
      <dgm:spPr/>
      <dgm:t>
        <a:bodyPr/>
        <a:lstStyle/>
        <a:p>
          <a:endParaRPr lang="es-CO"/>
        </a:p>
      </dgm:t>
    </dgm:pt>
    <dgm:pt modelId="{C7DBCA75-3265-40A8-8C53-E47635701186}" type="pres">
      <dgm:prSet presAssocID="{878A4540-B42D-4B36-A51A-97C8D092CE60}" presName="srcNode" presStyleLbl="node1" presStyleIdx="0" presStyleCnt="2"/>
      <dgm:spPr/>
      <dgm:t>
        <a:bodyPr/>
        <a:lstStyle/>
        <a:p>
          <a:endParaRPr lang="es-CO"/>
        </a:p>
      </dgm:t>
    </dgm:pt>
    <dgm:pt modelId="{D3D686D0-99C3-4190-B6A0-20DCCA5E384B}" type="pres">
      <dgm:prSet presAssocID="{878A4540-B42D-4B36-A51A-97C8D092CE60}" presName="conn" presStyleLbl="parChTrans1D2" presStyleIdx="0" presStyleCnt="1"/>
      <dgm:spPr/>
      <dgm:t>
        <a:bodyPr/>
        <a:lstStyle/>
        <a:p>
          <a:endParaRPr lang="es-CO"/>
        </a:p>
      </dgm:t>
    </dgm:pt>
    <dgm:pt modelId="{5837575D-0215-4F44-AE7F-7D29753CF41E}" type="pres">
      <dgm:prSet presAssocID="{878A4540-B42D-4B36-A51A-97C8D092CE60}" presName="extraNode" presStyleLbl="node1" presStyleIdx="0" presStyleCnt="2"/>
      <dgm:spPr/>
      <dgm:t>
        <a:bodyPr/>
        <a:lstStyle/>
        <a:p>
          <a:endParaRPr lang="es-CO"/>
        </a:p>
      </dgm:t>
    </dgm:pt>
    <dgm:pt modelId="{A218D4C8-DB7E-426F-88A6-F6F2701B7B46}" type="pres">
      <dgm:prSet presAssocID="{878A4540-B42D-4B36-A51A-97C8D092CE60}" presName="dstNode" presStyleLbl="node1" presStyleIdx="0" presStyleCnt="2"/>
      <dgm:spPr/>
      <dgm:t>
        <a:bodyPr/>
        <a:lstStyle/>
        <a:p>
          <a:endParaRPr lang="es-CO"/>
        </a:p>
      </dgm:t>
    </dgm:pt>
    <dgm:pt modelId="{9D428FBD-253A-4012-A4A5-2E44C8821FD9}" type="pres">
      <dgm:prSet presAssocID="{0769F2A0-D2DB-46A2-B4C8-A5DA85076CF9}" presName="text_1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9DE401FE-64DB-4794-A538-7760B6CAD7A5}" type="pres">
      <dgm:prSet presAssocID="{0769F2A0-D2DB-46A2-B4C8-A5DA85076CF9}" presName="accent_1" presStyleCnt="0"/>
      <dgm:spPr/>
      <dgm:t>
        <a:bodyPr/>
        <a:lstStyle/>
        <a:p>
          <a:endParaRPr lang="es-CO"/>
        </a:p>
      </dgm:t>
    </dgm:pt>
    <dgm:pt modelId="{DCEC000F-4A08-4832-9DCF-5901FF569EB7}" type="pres">
      <dgm:prSet presAssocID="{0769F2A0-D2DB-46A2-B4C8-A5DA85076CF9}" presName="accentRepeatNode" presStyleLbl="solidFgAcc1" presStyleIdx="0" presStyleCnt="2"/>
      <dgm:spPr/>
      <dgm:t>
        <a:bodyPr/>
        <a:lstStyle/>
        <a:p>
          <a:endParaRPr lang="es-CO"/>
        </a:p>
      </dgm:t>
    </dgm:pt>
    <dgm:pt modelId="{2A4A9346-289E-410F-B168-97B69C7A4C00}" type="pres">
      <dgm:prSet presAssocID="{D37AF467-3178-4414-A19F-0084FE83585D}" presName="text_2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es-ES"/>
        </a:p>
      </dgm:t>
    </dgm:pt>
    <dgm:pt modelId="{6F1EF642-0099-4189-94F5-97A23E42674D}" type="pres">
      <dgm:prSet presAssocID="{D37AF467-3178-4414-A19F-0084FE83585D}" presName="accent_2" presStyleCnt="0"/>
      <dgm:spPr/>
    </dgm:pt>
    <dgm:pt modelId="{317D7CD7-2790-4434-BD6B-E7BEFAB7AF3F}" type="pres">
      <dgm:prSet presAssocID="{D37AF467-3178-4414-A19F-0084FE83585D}" presName="accentRepeatNode" presStyleLbl="solidFgAcc1" presStyleIdx="1" presStyleCnt="2"/>
      <dgm:spPr/>
      <dgm:t>
        <a:bodyPr/>
        <a:lstStyle/>
        <a:p>
          <a:endParaRPr lang="es-CO"/>
        </a:p>
      </dgm:t>
    </dgm:pt>
  </dgm:ptLst>
  <dgm:cxnLst>
    <dgm:cxn modelId="{6CCF0553-A3D4-40F2-8C57-314FB92D07D8}" type="presOf" srcId="{8CEFDCCC-7744-4471-B9AE-93CC23652FDE}" destId="{D3D686D0-99C3-4190-B6A0-20DCCA5E384B}" srcOrd="0" destOrd="0" presId="urn:microsoft.com/office/officeart/2008/layout/VerticalCurvedList"/>
    <dgm:cxn modelId="{7C3D5D69-5E3B-4A73-B995-B881B5169067}" srcId="{878A4540-B42D-4B36-A51A-97C8D092CE60}" destId="{D37AF467-3178-4414-A19F-0084FE83585D}" srcOrd="1" destOrd="0" parTransId="{3B063C2B-BFAF-47F0-9E7A-3671AEAF7F95}" sibTransId="{DA765FAE-A9EA-40D4-AA5E-5A2B1E817270}"/>
    <dgm:cxn modelId="{0E136FE2-33AC-46EE-8088-7BBC0E3895A2}" type="presOf" srcId="{0769F2A0-D2DB-46A2-B4C8-A5DA85076CF9}" destId="{9D428FBD-253A-4012-A4A5-2E44C8821FD9}" srcOrd="0" destOrd="0" presId="urn:microsoft.com/office/officeart/2008/layout/VerticalCurvedList"/>
    <dgm:cxn modelId="{5117B358-8334-4AB1-8DFB-25F4FB3DCFA5}" srcId="{878A4540-B42D-4B36-A51A-97C8D092CE60}" destId="{0769F2A0-D2DB-46A2-B4C8-A5DA85076CF9}" srcOrd="0" destOrd="0" parTransId="{A0ACEB8C-3C90-4AEA-AE52-5B1B68D3C07E}" sibTransId="{8CEFDCCC-7744-4471-B9AE-93CC23652FDE}"/>
    <dgm:cxn modelId="{220CA99D-D957-42C4-8B4A-CC66FC0D5EE1}" type="presOf" srcId="{878A4540-B42D-4B36-A51A-97C8D092CE60}" destId="{D558DAF5-8E03-4011-A746-22C9EA2D2A3D}" srcOrd="0" destOrd="0" presId="urn:microsoft.com/office/officeart/2008/layout/VerticalCurvedList"/>
    <dgm:cxn modelId="{991FAD34-B9FF-4BC7-9A93-264BB162EF32}" type="presOf" srcId="{D37AF467-3178-4414-A19F-0084FE83585D}" destId="{2A4A9346-289E-410F-B168-97B69C7A4C00}" srcOrd="0" destOrd="0" presId="urn:microsoft.com/office/officeart/2008/layout/VerticalCurvedList"/>
    <dgm:cxn modelId="{10F3194F-2E7A-4524-A444-C1D899EA3010}" type="presParOf" srcId="{D558DAF5-8E03-4011-A746-22C9EA2D2A3D}" destId="{99713DA4-001A-4AFA-8F25-018981599A13}" srcOrd="0" destOrd="0" presId="urn:microsoft.com/office/officeart/2008/layout/VerticalCurvedList"/>
    <dgm:cxn modelId="{C476D9CB-F7C5-4FCC-8121-DD5FBC7C22F0}" type="presParOf" srcId="{99713DA4-001A-4AFA-8F25-018981599A13}" destId="{EA3F9FAF-A0AA-4624-9805-0FB7E0404FA5}" srcOrd="0" destOrd="0" presId="urn:microsoft.com/office/officeart/2008/layout/VerticalCurvedList"/>
    <dgm:cxn modelId="{1A94A92A-4073-4151-8FC8-E949BADC24B3}" type="presParOf" srcId="{EA3F9FAF-A0AA-4624-9805-0FB7E0404FA5}" destId="{C7DBCA75-3265-40A8-8C53-E47635701186}" srcOrd="0" destOrd="0" presId="urn:microsoft.com/office/officeart/2008/layout/VerticalCurvedList"/>
    <dgm:cxn modelId="{83F89863-9475-4000-952D-7E7E89B5962C}" type="presParOf" srcId="{EA3F9FAF-A0AA-4624-9805-0FB7E0404FA5}" destId="{D3D686D0-99C3-4190-B6A0-20DCCA5E384B}" srcOrd="1" destOrd="0" presId="urn:microsoft.com/office/officeart/2008/layout/VerticalCurvedList"/>
    <dgm:cxn modelId="{2F53649C-608E-4270-9C44-5A00841F70E9}" type="presParOf" srcId="{EA3F9FAF-A0AA-4624-9805-0FB7E0404FA5}" destId="{5837575D-0215-4F44-AE7F-7D29753CF41E}" srcOrd="2" destOrd="0" presId="urn:microsoft.com/office/officeart/2008/layout/VerticalCurvedList"/>
    <dgm:cxn modelId="{1241A36B-3362-459B-9BEA-BEF49E5149CF}" type="presParOf" srcId="{EA3F9FAF-A0AA-4624-9805-0FB7E0404FA5}" destId="{A218D4C8-DB7E-426F-88A6-F6F2701B7B46}" srcOrd="3" destOrd="0" presId="urn:microsoft.com/office/officeart/2008/layout/VerticalCurvedList"/>
    <dgm:cxn modelId="{B698FEEF-A21C-4A3B-B360-194AC579FDE2}" type="presParOf" srcId="{99713DA4-001A-4AFA-8F25-018981599A13}" destId="{9D428FBD-253A-4012-A4A5-2E44C8821FD9}" srcOrd="1" destOrd="0" presId="urn:microsoft.com/office/officeart/2008/layout/VerticalCurvedList"/>
    <dgm:cxn modelId="{F0F46C36-9E0B-4488-8530-92149583F47A}" type="presParOf" srcId="{99713DA4-001A-4AFA-8F25-018981599A13}" destId="{9DE401FE-64DB-4794-A538-7760B6CAD7A5}" srcOrd="2" destOrd="0" presId="urn:microsoft.com/office/officeart/2008/layout/VerticalCurvedList"/>
    <dgm:cxn modelId="{C670DF14-4F87-4C88-972C-3CA031E9CA28}" type="presParOf" srcId="{9DE401FE-64DB-4794-A538-7760B6CAD7A5}" destId="{DCEC000F-4A08-4832-9DCF-5901FF569EB7}" srcOrd="0" destOrd="0" presId="urn:microsoft.com/office/officeart/2008/layout/VerticalCurvedList"/>
    <dgm:cxn modelId="{85B940D5-324A-4961-957E-63C144AACBAC}" type="presParOf" srcId="{99713DA4-001A-4AFA-8F25-018981599A13}" destId="{2A4A9346-289E-410F-B168-97B69C7A4C00}" srcOrd="3" destOrd="0" presId="urn:microsoft.com/office/officeart/2008/layout/VerticalCurvedList"/>
    <dgm:cxn modelId="{C4B7F1BA-F694-4470-8532-43C0EAC49303}" type="presParOf" srcId="{99713DA4-001A-4AFA-8F25-018981599A13}" destId="{6F1EF642-0099-4189-94F5-97A23E42674D}" srcOrd="4" destOrd="0" presId="urn:microsoft.com/office/officeart/2008/layout/VerticalCurvedList"/>
    <dgm:cxn modelId="{37FE63C1-A3AB-45F4-86DC-6EA25E4ED8F7}" type="presParOf" srcId="{6F1EF642-0099-4189-94F5-97A23E42674D}" destId="{317D7CD7-2790-4434-BD6B-E7BEFAB7AF3F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F6F251FE-E3B1-41D0-9AD4-59597E0F13C9}" type="doc">
      <dgm:prSet loTypeId="urn:microsoft.com/office/officeart/2005/8/layout/vList3#1" loCatId="list" qsTypeId="urn:microsoft.com/office/officeart/2005/8/quickstyle/simple1" qsCatId="simple" csTypeId="urn:microsoft.com/office/officeart/2005/8/colors/accent1_1" csCatId="accent1" phldr="1"/>
      <dgm:spPr/>
    </dgm:pt>
    <dgm:pt modelId="{E61B9CB5-9E27-4131-BDE3-F92AF674A67E}">
      <dgm:prSet custT="1"/>
      <dgm:spPr/>
      <dgm:t>
        <a:bodyPr/>
        <a:lstStyle/>
        <a:p>
          <a:pPr algn="just"/>
          <a:r>
            <a:rPr lang="es-CO" sz="2000" b="0" dirty="0" smtClean="0">
              <a:effectLst/>
            </a:rPr>
            <a:t>Acceso a los estudiantes</a:t>
          </a:r>
          <a:endParaRPr lang="es-MX" sz="2000" b="0" u="none" dirty="0">
            <a:latin typeface="+mn-lt"/>
            <a:ea typeface="Verdana" pitchFamily="34" charset="0"/>
            <a:cs typeface="Verdana" pitchFamily="34" charset="0"/>
          </a:endParaRPr>
        </a:p>
      </dgm:t>
    </dgm:pt>
    <dgm:pt modelId="{06B18235-CEB8-41FB-89BB-F680F942D127}" type="parTrans" cxnId="{8019B3B6-EDE0-4883-8A7F-CDB0943501D1}">
      <dgm:prSet/>
      <dgm:spPr/>
      <dgm:t>
        <a:bodyPr/>
        <a:lstStyle/>
        <a:p>
          <a:pPr algn="just"/>
          <a:endParaRPr lang="es-CO" sz="2000">
            <a:solidFill>
              <a:srgbClr val="002060"/>
            </a:solidFill>
          </a:endParaRPr>
        </a:p>
      </dgm:t>
    </dgm:pt>
    <dgm:pt modelId="{5BAD095D-B658-4732-A797-BE6998370E02}" type="sibTrans" cxnId="{8019B3B6-EDE0-4883-8A7F-CDB0943501D1}">
      <dgm:prSet/>
      <dgm:spPr/>
      <dgm:t>
        <a:bodyPr/>
        <a:lstStyle/>
        <a:p>
          <a:pPr algn="just"/>
          <a:endParaRPr lang="es-CO" sz="2000">
            <a:solidFill>
              <a:srgbClr val="002060"/>
            </a:solidFill>
          </a:endParaRPr>
        </a:p>
      </dgm:t>
    </dgm:pt>
    <dgm:pt modelId="{E16CC87A-4BF8-4848-A6AB-771DBC333E37}">
      <dgm:prSet custT="1"/>
      <dgm:spPr/>
      <dgm:t>
        <a:bodyPr/>
        <a:lstStyle/>
        <a:p>
          <a:pPr algn="just"/>
          <a:r>
            <a:rPr lang="es-CO" sz="2000" b="0" smtClean="0">
              <a:effectLst/>
            </a:rPr>
            <a:t>Pertinencia</a:t>
          </a:r>
          <a:endParaRPr lang="es-ES" sz="2000" b="0" u="none" dirty="0">
            <a:latin typeface="+mn-lt"/>
            <a:ea typeface="Verdana" pitchFamily="34" charset="0"/>
            <a:cs typeface="Verdana" pitchFamily="34" charset="0"/>
          </a:endParaRPr>
        </a:p>
      </dgm:t>
    </dgm:pt>
    <dgm:pt modelId="{EFE5D388-3772-4CED-92E4-C61D1CEBD489}" type="parTrans" cxnId="{A66E9D5B-A01C-4FA4-9A77-3072A03371BD}">
      <dgm:prSet/>
      <dgm:spPr/>
      <dgm:t>
        <a:bodyPr/>
        <a:lstStyle/>
        <a:p>
          <a:pPr algn="just"/>
          <a:endParaRPr lang="es-CO" sz="2000">
            <a:solidFill>
              <a:srgbClr val="002060"/>
            </a:solidFill>
          </a:endParaRPr>
        </a:p>
      </dgm:t>
    </dgm:pt>
    <dgm:pt modelId="{D86AE959-CEBD-47C0-8B78-1C74BFD54DD3}" type="sibTrans" cxnId="{A66E9D5B-A01C-4FA4-9A77-3072A03371BD}">
      <dgm:prSet/>
      <dgm:spPr/>
      <dgm:t>
        <a:bodyPr/>
        <a:lstStyle/>
        <a:p>
          <a:pPr algn="just"/>
          <a:endParaRPr lang="es-CO" sz="2000">
            <a:solidFill>
              <a:srgbClr val="002060"/>
            </a:solidFill>
          </a:endParaRPr>
        </a:p>
      </dgm:t>
    </dgm:pt>
    <dgm:pt modelId="{0F3D2FC6-11B2-4A0F-8DFF-D562826811A9}">
      <dgm:prSet custT="1"/>
      <dgm:spPr/>
      <dgm:t>
        <a:bodyPr/>
        <a:lstStyle/>
        <a:p>
          <a:pPr algn="just"/>
          <a:r>
            <a:rPr lang="es-CO" sz="2000" b="0" smtClean="0">
              <a:effectLst/>
            </a:rPr>
            <a:t>Calidad</a:t>
          </a:r>
          <a:endParaRPr lang="es-ES" sz="2000" b="0" u="none" dirty="0" smtClean="0">
            <a:latin typeface="+mn-lt"/>
            <a:ea typeface="Verdana" pitchFamily="34" charset="0"/>
            <a:cs typeface="Verdana" pitchFamily="34" charset="0"/>
          </a:endParaRPr>
        </a:p>
      </dgm:t>
    </dgm:pt>
    <dgm:pt modelId="{4154BD59-AD9F-4569-8F8B-46966FEBD8BF}" type="parTrans" cxnId="{288BE7CC-60A4-4EDA-AC0E-18996391292A}">
      <dgm:prSet/>
      <dgm:spPr/>
      <dgm:t>
        <a:bodyPr/>
        <a:lstStyle/>
        <a:p>
          <a:pPr algn="just"/>
          <a:endParaRPr lang="es-CO" sz="2000">
            <a:solidFill>
              <a:srgbClr val="002060"/>
            </a:solidFill>
          </a:endParaRPr>
        </a:p>
      </dgm:t>
    </dgm:pt>
    <dgm:pt modelId="{7411F498-1EDC-4459-9848-0695397C669A}" type="sibTrans" cxnId="{288BE7CC-60A4-4EDA-AC0E-18996391292A}">
      <dgm:prSet/>
      <dgm:spPr/>
      <dgm:t>
        <a:bodyPr/>
        <a:lstStyle/>
        <a:p>
          <a:pPr algn="just"/>
          <a:endParaRPr lang="es-CO" sz="2000">
            <a:solidFill>
              <a:srgbClr val="002060"/>
            </a:solidFill>
          </a:endParaRPr>
        </a:p>
      </dgm:t>
    </dgm:pt>
    <dgm:pt modelId="{EE4C659B-942D-4991-9752-BB356C89A7A7}">
      <dgm:prSet custT="1"/>
      <dgm:spPr/>
      <dgm:t>
        <a:bodyPr/>
        <a:lstStyle/>
        <a:p>
          <a:pPr algn="just"/>
          <a:r>
            <a:rPr lang="es-ES" sz="2000" u="none" smtClean="0">
              <a:latin typeface="+mn-lt"/>
              <a:ea typeface="Verdana" pitchFamily="34" charset="0"/>
              <a:cs typeface="Verdana" pitchFamily="34" charset="0"/>
            </a:rPr>
            <a:t>Atención a los estudiantes</a:t>
          </a:r>
          <a:endParaRPr lang="es-ES" sz="2000" u="none" dirty="0" smtClean="0">
            <a:latin typeface="+mn-lt"/>
            <a:ea typeface="Verdana" pitchFamily="34" charset="0"/>
            <a:cs typeface="Verdana" pitchFamily="34" charset="0"/>
          </a:endParaRPr>
        </a:p>
      </dgm:t>
    </dgm:pt>
    <dgm:pt modelId="{7EE46C33-8368-457F-93D9-66884FB169F3}" type="parTrans" cxnId="{22777967-5AE9-4FC3-85E9-B643889CB497}">
      <dgm:prSet/>
      <dgm:spPr/>
      <dgm:t>
        <a:bodyPr/>
        <a:lstStyle/>
        <a:p>
          <a:endParaRPr lang="es-CO" sz="1600"/>
        </a:p>
      </dgm:t>
    </dgm:pt>
    <dgm:pt modelId="{9549B012-3514-4E32-9A73-1571C87FE0D9}" type="sibTrans" cxnId="{22777967-5AE9-4FC3-85E9-B643889CB497}">
      <dgm:prSet/>
      <dgm:spPr/>
      <dgm:t>
        <a:bodyPr/>
        <a:lstStyle/>
        <a:p>
          <a:endParaRPr lang="es-CO" sz="1600"/>
        </a:p>
      </dgm:t>
    </dgm:pt>
    <dgm:pt modelId="{4F03F895-4F46-4D20-A581-662D4A2E8E4B}">
      <dgm:prSet custT="1"/>
      <dgm:spPr/>
      <dgm:t>
        <a:bodyPr/>
        <a:lstStyle/>
        <a:p>
          <a:pPr algn="just"/>
          <a:r>
            <a:rPr lang="es-ES" sz="2000" u="none" smtClean="0">
              <a:latin typeface="+mn-lt"/>
              <a:ea typeface="Verdana" pitchFamily="34" charset="0"/>
              <a:cs typeface="Verdana" pitchFamily="34" charset="0"/>
            </a:rPr>
            <a:t>Gestión de infraestructura</a:t>
          </a:r>
          <a:endParaRPr lang="es-ES" sz="2000" u="none" dirty="0" smtClean="0">
            <a:latin typeface="+mn-lt"/>
            <a:ea typeface="Verdana" pitchFamily="34" charset="0"/>
            <a:cs typeface="Verdana" pitchFamily="34" charset="0"/>
          </a:endParaRPr>
        </a:p>
      </dgm:t>
    </dgm:pt>
    <dgm:pt modelId="{4B4C5672-8616-47B8-A917-80A2F143CAC4}" type="parTrans" cxnId="{510FA9D0-589C-4ED4-86CC-E1205CB65875}">
      <dgm:prSet/>
      <dgm:spPr/>
      <dgm:t>
        <a:bodyPr/>
        <a:lstStyle/>
        <a:p>
          <a:endParaRPr lang="es-CO" sz="1600"/>
        </a:p>
      </dgm:t>
    </dgm:pt>
    <dgm:pt modelId="{B0279C1E-9554-46CC-8BBB-828A5FD21F72}" type="sibTrans" cxnId="{510FA9D0-589C-4ED4-86CC-E1205CB65875}">
      <dgm:prSet/>
      <dgm:spPr/>
      <dgm:t>
        <a:bodyPr/>
        <a:lstStyle/>
        <a:p>
          <a:endParaRPr lang="es-CO" sz="1600"/>
        </a:p>
      </dgm:t>
    </dgm:pt>
    <dgm:pt modelId="{917901F7-FD97-499E-8487-5A737FDADA44}">
      <dgm:prSet custT="1"/>
      <dgm:spPr/>
      <dgm:t>
        <a:bodyPr/>
        <a:lstStyle/>
        <a:p>
          <a:pPr algn="just"/>
          <a:r>
            <a:rPr lang="es-ES" sz="2000" u="none" smtClean="0">
              <a:latin typeface="+mn-lt"/>
              <a:ea typeface="Verdana" pitchFamily="34" charset="0"/>
              <a:cs typeface="Verdana" pitchFamily="34" charset="0"/>
            </a:rPr>
            <a:t>Gestión Financiera</a:t>
          </a:r>
          <a:endParaRPr lang="es-ES" sz="2000" u="none" dirty="0" smtClean="0">
            <a:latin typeface="+mn-lt"/>
            <a:ea typeface="Verdana" pitchFamily="34" charset="0"/>
            <a:cs typeface="Verdana" pitchFamily="34" charset="0"/>
          </a:endParaRPr>
        </a:p>
      </dgm:t>
    </dgm:pt>
    <dgm:pt modelId="{9F11C86F-E682-4A91-9D61-283009A4B193}" type="parTrans" cxnId="{BAB649FC-836E-4245-B4BC-3C1D8FF8C9AD}">
      <dgm:prSet/>
      <dgm:spPr/>
      <dgm:t>
        <a:bodyPr/>
        <a:lstStyle/>
        <a:p>
          <a:endParaRPr lang="es-CO" sz="1600"/>
        </a:p>
      </dgm:t>
    </dgm:pt>
    <dgm:pt modelId="{92F59769-5A1A-4C8D-BC8E-F289BBCB5AC0}" type="sibTrans" cxnId="{BAB649FC-836E-4245-B4BC-3C1D8FF8C9AD}">
      <dgm:prSet/>
      <dgm:spPr/>
      <dgm:t>
        <a:bodyPr/>
        <a:lstStyle/>
        <a:p>
          <a:endParaRPr lang="es-CO" sz="1600"/>
        </a:p>
      </dgm:t>
    </dgm:pt>
    <dgm:pt modelId="{76064E77-00C2-4805-B7A4-641C04EFBF42}">
      <dgm:prSet custT="1"/>
      <dgm:spPr/>
      <dgm:t>
        <a:bodyPr/>
        <a:lstStyle/>
        <a:p>
          <a:pPr algn="just"/>
          <a:r>
            <a:rPr lang="es-ES" sz="2000" u="none" smtClean="0">
              <a:latin typeface="+mn-lt"/>
              <a:ea typeface="Verdana" pitchFamily="34" charset="0"/>
              <a:cs typeface="Verdana" pitchFamily="34" charset="0"/>
            </a:rPr>
            <a:t>Gestión institucional</a:t>
          </a:r>
          <a:endParaRPr lang="es-ES" sz="2000" u="none" dirty="0" smtClean="0">
            <a:latin typeface="+mn-lt"/>
            <a:ea typeface="Verdana" pitchFamily="34" charset="0"/>
            <a:cs typeface="Verdana" pitchFamily="34" charset="0"/>
          </a:endParaRPr>
        </a:p>
      </dgm:t>
    </dgm:pt>
    <dgm:pt modelId="{29192EDD-42BE-4CAD-8D37-A2D936FBB0DF}" type="parTrans" cxnId="{3104753C-117B-4C84-A64E-BFD367622304}">
      <dgm:prSet/>
      <dgm:spPr/>
      <dgm:t>
        <a:bodyPr/>
        <a:lstStyle/>
        <a:p>
          <a:endParaRPr lang="es-CO" sz="1600"/>
        </a:p>
      </dgm:t>
    </dgm:pt>
    <dgm:pt modelId="{BEEDE0F7-966A-4CB9-BB7A-947615614EF7}" type="sibTrans" cxnId="{3104753C-117B-4C84-A64E-BFD367622304}">
      <dgm:prSet/>
      <dgm:spPr/>
      <dgm:t>
        <a:bodyPr/>
        <a:lstStyle/>
        <a:p>
          <a:endParaRPr lang="es-CO" sz="1600"/>
        </a:p>
      </dgm:t>
    </dgm:pt>
    <dgm:pt modelId="{33AC8322-AEC8-46B4-9E61-12DF1557F4F1}" type="pres">
      <dgm:prSet presAssocID="{F6F251FE-E3B1-41D0-9AD4-59597E0F13C9}" presName="linearFlow" presStyleCnt="0">
        <dgm:presLayoutVars>
          <dgm:dir/>
          <dgm:resizeHandles val="exact"/>
        </dgm:presLayoutVars>
      </dgm:prSet>
      <dgm:spPr/>
    </dgm:pt>
    <dgm:pt modelId="{D6F864FF-5319-415F-AC5B-62154A5BA0E5}" type="pres">
      <dgm:prSet presAssocID="{E61B9CB5-9E27-4131-BDE3-F92AF674A67E}" presName="composite" presStyleCnt="0"/>
      <dgm:spPr/>
    </dgm:pt>
    <dgm:pt modelId="{A06848A9-0673-48CE-9E8A-C7D28F82CB08}" type="pres">
      <dgm:prSet presAssocID="{E61B9CB5-9E27-4131-BDE3-F92AF674A67E}" presName="imgShp" presStyleLbl="fgImgPlace1" presStyleIdx="0" presStyleCnt="7"/>
      <dgm:spPr/>
    </dgm:pt>
    <dgm:pt modelId="{2CCCEE37-84CC-4FFB-BDD2-2EBFE568AA78}" type="pres">
      <dgm:prSet presAssocID="{E61B9CB5-9E27-4131-BDE3-F92AF674A67E}" presName="txShp" presStyleLbl="node1" presStyleIdx="0" presStyleCnt="7" custLinFactNeighborX="119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D10434F6-8F83-4F50-8320-37B73A901959}" type="pres">
      <dgm:prSet presAssocID="{5BAD095D-B658-4732-A797-BE6998370E02}" presName="spacing" presStyleCnt="0"/>
      <dgm:spPr/>
    </dgm:pt>
    <dgm:pt modelId="{6B00F078-E6BA-4B4D-94CC-7F0093076955}" type="pres">
      <dgm:prSet presAssocID="{E16CC87A-4BF8-4848-A6AB-771DBC333E37}" presName="composite" presStyleCnt="0"/>
      <dgm:spPr/>
    </dgm:pt>
    <dgm:pt modelId="{F51A1092-1BF9-4BE6-9117-17E5E6F22E72}" type="pres">
      <dgm:prSet presAssocID="{E16CC87A-4BF8-4848-A6AB-771DBC333E37}" presName="imgShp" presStyleLbl="fgImgPlace1" presStyleIdx="1" presStyleCnt="7"/>
      <dgm:spPr/>
    </dgm:pt>
    <dgm:pt modelId="{DB193312-33B7-41DB-8266-60D47758DE09}" type="pres">
      <dgm:prSet presAssocID="{E16CC87A-4BF8-4848-A6AB-771DBC333E37}" presName="txShp" presStyleLbl="node1" presStyleIdx="1" presStyleCnt="7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737FAB37-0DAC-497D-9FB5-847D05423313}" type="pres">
      <dgm:prSet presAssocID="{D86AE959-CEBD-47C0-8B78-1C74BFD54DD3}" presName="spacing" presStyleCnt="0"/>
      <dgm:spPr/>
    </dgm:pt>
    <dgm:pt modelId="{26A12002-7AB6-42F7-9917-43D873B8F4E2}" type="pres">
      <dgm:prSet presAssocID="{0F3D2FC6-11B2-4A0F-8DFF-D562826811A9}" presName="composite" presStyleCnt="0"/>
      <dgm:spPr/>
    </dgm:pt>
    <dgm:pt modelId="{D7E96CD7-291D-4F79-9F19-3452B2318A55}" type="pres">
      <dgm:prSet presAssocID="{0F3D2FC6-11B2-4A0F-8DFF-D562826811A9}" presName="imgShp" presStyleLbl="fgImgPlace1" presStyleIdx="2" presStyleCnt="7"/>
      <dgm:spPr/>
    </dgm:pt>
    <dgm:pt modelId="{DF18C1D2-6ADA-4641-9B24-CC4618FC4740}" type="pres">
      <dgm:prSet presAssocID="{0F3D2FC6-11B2-4A0F-8DFF-D562826811A9}" presName="txShp" presStyleLbl="node1" presStyleIdx="2" presStyleCnt="7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64B806E2-7751-4E1B-A1FD-BB4B451AF68D}" type="pres">
      <dgm:prSet presAssocID="{7411F498-1EDC-4459-9848-0695397C669A}" presName="spacing" presStyleCnt="0"/>
      <dgm:spPr/>
    </dgm:pt>
    <dgm:pt modelId="{2BAB2A58-DE45-4943-8ECD-2A595F489FED}" type="pres">
      <dgm:prSet presAssocID="{EE4C659B-942D-4991-9752-BB356C89A7A7}" presName="composite" presStyleCnt="0"/>
      <dgm:spPr/>
    </dgm:pt>
    <dgm:pt modelId="{6288DD77-D563-41B6-9A71-BDEE5BB6B562}" type="pres">
      <dgm:prSet presAssocID="{EE4C659B-942D-4991-9752-BB356C89A7A7}" presName="imgShp" presStyleLbl="fgImgPlace1" presStyleIdx="3" presStyleCnt="7"/>
      <dgm:spPr/>
    </dgm:pt>
    <dgm:pt modelId="{4AE909C7-1A72-49A1-8605-F721FA41BE03}" type="pres">
      <dgm:prSet presAssocID="{EE4C659B-942D-4991-9752-BB356C89A7A7}" presName="txShp" presStyleLbl="node1" presStyleIdx="3" presStyleCnt="7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5EF19048-8733-4046-A383-876AF1B01704}" type="pres">
      <dgm:prSet presAssocID="{9549B012-3514-4E32-9A73-1571C87FE0D9}" presName="spacing" presStyleCnt="0"/>
      <dgm:spPr/>
    </dgm:pt>
    <dgm:pt modelId="{041F1D9A-3343-4E04-9732-47D3DD856877}" type="pres">
      <dgm:prSet presAssocID="{4F03F895-4F46-4D20-A581-662D4A2E8E4B}" presName="composite" presStyleCnt="0"/>
      <dgm:spPr/>
    </dgm:pt>
    <dgm:pt modelId="{5D277EAD-0FD1-43D3-AF2B-35C5DF3751DA}" type="pres">
      <dgm:prSet presAssocID="{4F03F895-4F46-4D20-A581-662D4A2E8E4B}" presName="imgShp" presStyleLbl="fgImgPlace1" presStyleIdx="4" presStyleCnt="7"/>
      <dgm:spPr/>
    </dgm:pt>
    <dgm:pt modelId="{EB613E25-42F8-4BAE-B401-6C6AF07BFF2C}" type="pres">
      <dgm:prSet presAssocID="{4F03F895-4F46-4D20-A581-662D4A2E8E4B}" presName="txShp" presStyleLbl="node1" presStyleIdx="4" presStyleCnt="7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18FDDFC1-0B09-4D90-807C-1AC3E54EBC8D}" type="pres">
      <dgm:prSet presAssocID="{B0279C1E-9554-46CC-8BBB-828A5FD21F72}" presName="spacing" presStyleCnt="0"/>
      <dgm:spPr/>
    </dgm:pt>
    <dgm:pt modelId="{A57F083F-B40A-4735-93B6-38DFD84D72E3}" type="pres">
      <dgm:prSet presAssocID="{917901F7-FD97-499E-8487-5A737FDADA44}" presName="composite" presStyleCnt="0"/>
      <dgm:spPr/>
    </dgm:pt>
    <dgm:pt modelId="{B2854D78-6E94-43C3-A6BD-7F859875FB21}" type="pres">
      <dgm:prSet presAssocID="{917901F7-FD97-499E-8487-5A737FDADA44}" presName="imgShp" presStyleLbl="fgImgPlace1" presStyleIdx="5" presStyleCnt="7"/>
      <dgm:spPr/>
    </dgm:pt>
    <dgm:pt modelId="{426CCEF8-82D4-4B90-A6C9-5BCD7A6F2846}" type="pres">
      <dgm:prSet presAssocID="{917901F7-FD97-499E-8487-5A737FDADA44}" presName="txShp" presStyleLbl="node1" presStyleIdx="5" presStyleCnt="7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BAC33D1F-1AF1-401F-9FF9-29C369ACD863}" type="pres">
      <dgm:prSet presAssocID="{92F59769-5A1A-4C8D-BC8E-F289BBCB5AC0}" presName="spacing" presStyleCnt="0"/>
      <dgm:spPr/>
    </dgm:pt>
    <dgm:pt modelId="{CA00ACEF-386D-4A40-AC21-69B22517E45F}" type="pres">
      <dgm:prSet presAssocID="{76064E77-00C2-4805-B7A4-641C04EFBF42}" presName="composite" presStyleCnt="0"/>
      <dgm:spPr/>
    </dgm:pt>
    <dgm:pt modelId="{320DF2A9-02E9-4BB2-B169-9A778D9EF313}" type="pres">
      <dgm:prSet presAssocID="{76064E77-00C2-4805-B7A4-641C04EFBF42}" presName="imgShp" presStyleLbl="fgImgPlace1" presStyleIdx="6" presStyleCnt="7"/>
      <dgm:spPr/>
    </dgm:pt>
    <dgm:pt modelId="{70803A22-6498-4D4E-B0E1-07DE9D6E12E4}" type="pres">
      <dgm:prSet presAssocID="{76064E77-00C2-4805-B7A4-641C04EFBF42}" presName="txShp" presStyleLbl="node1" presStyleIdx="6" presStyleCnt="7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8019B3B6-EDE0-4883-8A7F-CDB0943501D1}" srcId="{F6F251FE-E3B1-41D0-9AD4-59597E0F13C9}" destId="{E61B9CB5-9E27-4131-BDE3-F92AF674A67E}" srcOrd="0" destOrd="0" parTransId="{06B18235-CEB8-41FB-89BB-F680F942D127}" sibTransId="{5BAD095D-B658-4732-A797-BE6998370E02}"/>
    <dgm:cxn modelId="{5CD3F0F4-4BEC-447A-89F3-C397A792C8A5}" type="presOf" srcId="{76064E77-00C2-4805-B7A4-641C04EFBF42}" destId="{70803A22-6498-4D4E-B0E1-07DE9D6E12E4}" srcOrd="0" destOrd="0" presId="urn:microsoft.com/office/officeart/2005/8/layout/vList3#1"/>
    <dgm:cxn modelId="{19B0BCAC-54D1-4A52-BF1A-48EB7AB7D3E9}" type="presOf" srcId="{0F3D2FC6-11B2-4A0F-8DFF-D562826811A9}" destId="{DF18C1D2-6ADA-4641-9B24-CC4618FC4740}" srcOrd="0" destOrd="0" presId="urn:microsoft.com/office/officeart/2005/8/layout/vList3#1"/>
    <dgm:cxn modelId="{F5F2ED65-D329-4991-AEEA-936557DC9E51}" type="presOf" srcId="{4F03F895-4F46-4D20-A581-662D4A2E8E4B}" destId="{EB613E25-42F8-4BAE-B401-6C6AF07BFF2C}" srcOrd="0" destOrd="0" presId="urn:microsoft.com/office/officeart/2005/8/layout/vList3#1"/>
    <dgm:cxn modelId="{E63C1763-2198-43CF-A4E2-A5F9DB078397}" type="presOf" srcId="{917901F7-FD97-499E-8487-5A737FDADA44}" destId="{426CCEF8-82D4-4B90-A6C9-5BCD7A6F2846}" srcOrd="0" destOrd="0" presId="urn:microsoft.com/office/officeart/2005/8/layout/vList3#1"/>
    <dgm:cxn modelId="{87FD3FFF-FCC5-4C7C-9D76-BB63DFF4D1F1}" type="presOf" srcId="{F6F251FE-E3B1-41D0-9AD4-59597E0F13C9}" destId="{33AC8322-AEC8-46B4-9E61-12DF1557F4F1}" srcOrd="0" destOrd="0" presId="urn:microsoft.com/office/officeart/2005/8/layout/vList3#1"/>
    <dgm:cxn modelId="{BAB649FC-836E-4245-B4BC-3C1D8FF8C9AD}" srcId="{F6F251FE-E3B1-41D0-9AD4-59597E0F13C9}" destId="{917901F7-FD97-499E-8487-5A737FDADA44}" srcOrd="5" destOrd="0" parTransId="{9F11C86F-E682-4A91-9D61-283009A4B193}" sibTransId="{92F59769-5A1A-4C8D-BC8E-F289BBCB5AC0}"/>
    <dgm:cxn modelId="{510FA9D0-589C-4ED4-86CC-E1205CB65875}" srcId="{F6F251FE-E3B1-41D0-9AD4-59597E0F13C9}" destId="{4F03F895-4F46-4D20-A581-662D4A2E8E4B}" srcOrd="4" destOrd="0" parTransId="{4B4C5672-8616-47B8-A917-80A2F143CAC4}" sibTransId="{B0279C1E-9554-46CC-8BBB-828A5FD21F72}"/>
    <dgm:cxn modelId="{22777967-5AE9-4FC3-85E9-B643889CB497}" srcId="{F6F251FE-E3B1-41D0-9AD4-59597E0F13C9}" destId="{EE4C659B-942D-4991-9752-BB356C89A7A7}" srcOrd="3" destOrd="0" parTransId="{7EE46C33-8368-457F-93D9-66884FB169F3}" sibTransId="{9549B012-3514-4E32-9A73-1571C87FE0D9}"/>
    <dgm:cxn modelId="{A66E9D5B-A01C-4FA4-9A77-3072A03371BD}" srcId="{F6F251FE-E3B1-41D0-9AD4-59597E0F13C9}" destId="{E16CC87A-4BF8-4848-A6AB-771DBC333E37}" srcOrd="1" destOrd="0" parTransId="{EFE5D388-3772-4CED-92E4-C61D1CEBD489}" sibTransId="{D86AE959-CEBD-47C0-8B78-1C74BFD54DD3}"/>
    <dgm:cxn modelId="{9D955532-E1B2-45D3-B761-7B9E752C6760}" type="presOf" srcId="{E16CC87A-4BF8-4848-A6AB-771DBC333E37}" destId="{DB193312-33B7-41DB-8266-60D47758DE09}" srcOrd="0" destOrd="0" presId="urn:microsoft.com/office/officeart/2005/8/layout/vList3#1"/>
    <dgm:cxn modelId="{CD1EAC94-1B27-415A-ACBB-F7E2A0ED918E}" type="presOf" srcId="{EE4C659B-942D-4991-9752-BB356C89A7A7}" destId="{4AE909C7-1A72-49A1-8605-F721FA41BE03}" srcOrd="0" destOrd="0" presId="urn:microsoft.com/office/officeart/2005/8/layout/vList3#1"/>
    <dgm:cxn modelId="{57289C5A-A142-4865-AFAD-4158713AB760}" type="presOf" srcId="{E61B9CB5-9E27-4131-BDE3-F92AF674A67E}" destId="{2CCCEE37-84CC-4FFB-BDD2-2EBFE568AA78}" srcOrd="0" destOrd="0" presId="urn:microsoft.com/office/officeart/2005/8/layout/vList3#1"/>
    <dgm:cxn modelId="{3104753C-117B-4C84-A64E-BFD367622304}" srcId="{F6F251FE-E3B1-41D0-9AD4-59597E0F13C9}" destId="{76064E77-00C2-4805-B7A4-641C04EFBF42}" srcOrd="6" destOrd="0" parTransId="{29192EDD-42BE-4CAD-8D37-A2D936FBB0DF}" sibTransId="{BEEDE0F7-966A-4CB9-BB7A-947615614EF7}"/>
    <dgm:cxn modelId="{288BE7CC-60A4-4EDA-AC0E-18996391292A}" srcId="{F6F251FE-E3B1-41D0-9AD4-59597E0F13C9}" destId="{0F3D2FC6-11B2-4A0F-8DFF-D562826811A9}" srcOrd="2" destOrd="0" parTransId="{4154BD59-AD9F-4569-8F8B-46966FEBD8BF}" sibTransId="{7411F498-1EDC-4459-9848-0695397C669A}"/>
    <dgm:cxn modelId="{21221EC4-892D-416D-ABDA-90C3D00B8685}" type="presParOf" srcId="{33AC8322-AEC8-46B4-9E61-12DF1557F4F1}" destId="{D6F864FF-5319-415F-AC5B-62154A5BA0E5}" srcOrd="0" destOrd="0" presId="urn:microsoft.com/office/officeart/2005/8/layout/vList3#1"/>
    <dgm:cxn modelId="{BA54F59E-E74A-4781-A6F6-781ED6238205}" type="presParOf" srcId="{D6F864FF-5319-415F-AC5B-62154A5BA0E5}" destId="{A06848A9-0673-48CE-9E8A-C7D28F82CB08}" srcOrd="0" destOrd="0" presId="urn:microsoft.com/office/officeart/2005/8/layout/vList3#1"/>
    <dgm:cxn modelId="{F61A83D9-949E-4D66-A3CC-BC7642817CDD}" type="presParOf" srcId="{D6F864FF-5319-415F-AC5B-62154A5BA0E5}" destId="{2CCCEE37-84CC-4FFB-BDD2-2EBFE568AA78}" srcOrd="1" destOrd="0" presId="urn:microsoft.com/office/officeart/2005/8/layout/vList3#1"/>
    <dgm:cxn modelId="{95C4F851-88BB-42AD-9DD3-C3301014DEDB}" type="presParOf" srcId="{33AC8322-AEC8-46B4-9E61-12DF1557F4F1}" destId="{D10434F6-8F83-4F50-8320-37B73A901959}" srcOrd="1" destOrd="0" presId="urn:microsoft.com/office/officeart/2005/8/layout/vList3#1"/>
    <dgm:cxn modelId="{BFC8C1E9-7D02-4F9B-8287-E4BFB65E5545}" type="presParOf" srcId="{33AC8322-AEC8-46B4-9E61-12DF1557F4F1}" destId="{6B00F078-E6BA-4B4D-94CC-7F0093076955}" srcOrd="2" destOrd="0" presId="urn:microsoft.com/office/officeart/2005/8/layout/vList3#1"/>
    <dgm:cxn modelId="{5A76D942-96F7-48E9-A99C-5BB3D4AA3807}" type="presParOf" srcId="{6B00F078-E6BA-4B4D-94CC-7F0093076955}" destId="{F51A1092-1BF9-4BE6-9117-17E5E6F22E72}" srcOrd="0" destOrd="0" presId="urn:microsoft.com/office/officeart/2005/8/layout/vList3#1"/>
    <dgm:cxn modelId="{7AFB13F8-A48F-4559-AA33-E2154EC71645}" type="presParOf" srcId="{6B00F078-E6BA-4B4D-94CC-7F0093076955}" destId="{DB193312-33B7-41DB-8266-60D47758DE09}" srcOrd="1" destOrd="0" presId="urn:microsoft.com/office/officeart/2005/8/layout/vList3#1"/>
    <dgm:cxn modelId="{8D1CC7BE-2990-4515-92CF-210DEC0D72D4}" type="presParOf" srcId="{33AC8322-AEC8-46B4-9E61-12DF1557F4F1}" destId="{737FAB37-0DAC-497D-9FB5-847D05423313}" srcOrd="3" destOrd="0" presId="urn:microsoft.com/office/officeart/2005/8/layout/vList3#1"/>
    <dgm:cxn modelId="{2B48926F-7FFE-42EE-9EED-46106C08BFB0}" type="presParOf" srcId="{33AC8322-AEC8-46B4-9E61-12DF1557F4F1}" destId="{26A12002-7AB6-42F7-9917-43D873B8F4E2}" srcOrd="4" destOrd="0" presId="urn:microsoft.com/office/officeart/2005/8/layout/vList3#1"/>
    <dgm:cxn modelId="{1C5EC253-802A-4AA9-8E4F-90F6558C536F}" type="presParOf" srcId="{26A12002-7AB6-42F7-9917-43D873B8F4E2}" destId="{D7E96CD7-291D-4F79-9F19-3452B2318A55}" srcOrd="0" destOrd="0" presId="urn:microsoft.com/office/officeart/2005/8/layout/vList3#1"/>
    <dgm:cxn modelId="{662976A8-61EF-441B-B807-7E7888E45094}" type="presParOf" srcId="{26A12002-7AB6-42F7-9917-43D873B8F4E2}" destId="{DF18C1D2-6ADA-4641-9B24-CC4618FC4740}" srcOrd="1" destOrd="0" presId="urn:microsoft.com/office/officeart/2005/8/layout/vList3#1"/>
    <dgm:cxn modelId="{9749F2CA-5390-4FD7-9413-5CFFA0313A49}" type="presParOf" srcId="{33AC8322-AEC8-46B4-9E61-12DF1557F4F1}" destId="{64B806E2-7751-4E1B-A1FD-BB4B451AF68D}" srcOrd="5" destOrd="0" presId="urn:microsoft.com/office/officeart/2005/8/layout/vList3#1"/>
    <dgm:cxn modelId="{73D350B3-584A-4F52-A597-1503889D5DCE}" type="presParOf" srcId="{33AC8322-AEC8-46B4-9E61-12DF1557F4F1}" destId="{2BAB2A58-DE45-4943-8ECD-2A595F489FED}" srcOrd="6" destOrd="0" presId="urn:microsoft.com/office/officeart/2005/8/layout/vList3#1"/>
    <dgm:cxn modelId="{B8B42CB6-932B-4095-8089-AF94AD9F93DA}" type="presParOf" srcId="{2BAB2A58-DE45-4943-8ECD-2A595F489FED}" destId="{6288DD77-D563-41B6-9A71-BDEE5BB6B562}" srcOrd="0" destOrd="0" presId="urn:microsoft.com/office/officeart/2005/8/layout/vList3#1"/>
    <dgm:cxn modelId="{3025D73B-FE25-4134-8FCE-F048617CC169}" type="presParOf" srcId="{2BAB2A58-DE45-4943-8ECD-2A595F489FED}" destId="{4AE909C7-1A72-49A1-8605-F721FA41BE03}" srcOrd="1" destOrd="0" presId="urn:microsoft.com/office/officeart/2005/8/layout/vList3#1"/>
    <dgm:cxn modelId="{512953D4-6401-4EBC-AC5F-403A778EB089}" type="presParOf" srcId="{33AC8322-AEC8-46B4-9E61-12DF1557F4F1}" destId="{5EF19048-8733-4046-A383-876AF1B01704}" srcOrd="7" destOrd="0" presId="urn:microsoft.com/office/officeart/2005/8/layout/vList3#1"/>
    <dgm:cxn modelId="{BCE1463F-9DB7-4EDF-B356-358F12E5181C}" type="presParOf" srcId="{33AC8322-AEC8-46B4-9E61-12DF1557F4F1}" destId="{041F1D9A-3343-4E04-9732-47D3DD856877}" srcOrd="8" destOrd="0" presId="urn:microsoft.com/office/officeart/2005/8/layout/vList3#1"/>
    <dgm:cxn modelId="{10F31D4A-1258-4082-8F4B-F3F854A246C9}" type="presParOf" srcId="{041F1D9A-3343-4E04-9732-47D3DD856877}" destId="{5D277EAD-0FD1-43D3-AF2B-35C5DF3751DA}" srcOrd="0" destOrd="0" presId="urn:microsoft.com/office/officeart/2005/8/layout/vList3#1"/>
    <dgm:cxn modelId="{91F2A5A3-9CF1-4FCD-8934-1F7BDBA69731}" type="presParOf" srcId="{041F1D9A-3343-4E04-9732-47D3DD856877}" destId="{EB613E25-42F8-4BAE-B401-6C6AF07BFF2C}" srcOrd="1" destOrd="0" presId="urn:microsoft.com/office/officeart/2005/8/layout/vList3#1"/>
    <dgm:cxn modelId="{4111E6D5-5725-4E46-B086-C433E695F67E}" type="presParOf" srcId="{33AC8322-AEC8-46B4-9E61-12DF1557F4F1}" destId="{18FDDFC1-0B09-4D90-807C-1AC3E54EBC8D}" srcOrd="9" destOrd="0" presId="urn:microsoft.com/office/officeart/2005/8/layout/vList3#1"/>
    <dgm:cxn modelId="{C999BE72-4A2C-4389-8B99-3A09BD014698}" type="presParOf" srcId="{33AC8322-AEC8-46B4-9E61-12DF1557F4F1}" destId="{A57F083F-B40A-4735-93B6-38DFD84D72E3}" srcOrd="10" destOrd="0" presId="urn:microsoft.com/office/officeart/2005/8/layout/vList3#1"/>
    <dgm:cxn modelId="{B64C1775-18C4-4829-84D8-759DBD568F30}" type="presParOf" srcId="{A57F083F-B40A-4735-93B6-38DFD84D72E3}" destId="{B2854D78-6E94-43C3-A6BD-7F859875FB21}" srcOrd="0" destOrd="0" presId="urn:microsoft.com/office/officeart/2005/8/layout/vList3#1"/>
    <dgm:cxn modelId="{1C3AA442-502F-4118-9F21-AB3A4546CAE4}" type="presParOf" srcId="{A57F083F-B40A-4735-93B6-38DFD84D72E3}" destId="{426CCEF8-82D4-4B90-A6C9-5BCD7A6F2846}" srcOrd="1" destOrd="0" presId="urn:microsoft.com/office/officeart/2005/8/layout/vList3#1"/>
    <dgm:cxn modelId="{AE1444FD-FB8D-4098-AE87-A9CC7E976A9D}" type="presParOf" srcId="{33AC8322-AEC8-46B4-9E61-12DF1557F4F1}" destId="{BAC33D1F-1AF1-401F-9FF9-29C369ACD863}" srcOrd="11" destOrd="0" presId="urn:microsoft.com/office/officeart/2005/8/layout/vList3#1"/>
    <dgm:cxn modelId="{3DAB9E43-24CE-49AC-96ED-93AC21FB391A}" type="presParOf" srcId="{33AC8322-AEC8-46B4-9E61-12DF1557F4F1}" destId="{CA00ACEF-386D-4A40-AC21-69B22517E45F}" srcOrd="12" destOrd="0" presId="urn:microsoft.com/office/officeart/2005/8/layout/vList3#1"/>
    <dgm:cxn modelId="{D0F446D9-77C3-42EB-B178-49DEAF4E81D0}" type="presParOf" srcId="{CA00ACEF-386D-4A40-AC21-69B22517E45F}" destId="{320DF2A9-02E9-4BB2-B169-9A778D9EF313}" srcOrd="0" destOrd="0" presId="urn:microsoft.com/office/officeart/2005/8/layout/vList3#1"/>
    <dgm:cxn modelId="{FA8C0E04-A1CB-465C-AEA6-2A436AF848A5}" type="presParOf" srcId="{CA00ACEF-386D-4A40-AC21-69B22517E45F}" destId="{70803A22-6498-4D4E-B0E1-07DE9D6E12E4}" srcOrd="1" destOrd="0" presId="urn:microsoft.com/office/officeart/2005/8/layout/vList3#1"/>
  </dgm:cxnLst>
  <dgm:bg>
    <a:noFill/>
  </dgm:bg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6F251FE-E3B1-41D0-9AD4-59597E0F13C9}" type="doc">
      <dgm:prSet loTypeId="urn:microsoft.com/office/officeart/2005/8/layout/vList3#2" loCatId="list" qsTypeId="urn:microsoft.com/office/officeart/2005/8/quickstyle/simple1" qsCatId="simple" csTypeId="urn:microsoft.com/office/officeart/2005/8/colors/accent2_1" csCatId="accent2" phldr="1"/>
      <dgm:spPr/>
    </dgm:pt>
    <dgm:pt modelId="{E61B9CB5-9E27-4131-BDE3-F92AF674A67E}">
      <dgm:prSet custT="1"/>
      <dgm:spPr/>
      <dgm:t>
        <a:bodyPr/>
        <a:lstStyle/>
        <a:p>
          <a:pPr algn="just"/>
          <a:r>
            <a:rPr lang="es-ES" sz="2000" u="none" smtClean="0">
              <a:latin typeface="+mn-lt"/>
              <a:ea typeface="Verdana" pitchFamily="34" charset="0"/>
              <a:cs typeface="Verdana" pitchFamily="34" charset="0"/>
            </a:rPr>
            <a:t>Relevancia</a:t>
          </a:r>
          <a:endParaRPr lang="es-MX" sz="2000" u="none" dirty="0">
            <a:latin typeface="+mn-lt"/>
            <a:ea typeface="Verdana" pitchFamily="34" charset="0"/>
            <a:cs typeface="Verdana" pitchFamily="34" charset="0"/>
          </a:endParaRPr>
        </a:p>
      </dgm:t>
    </dgm:pt>
    <dgm:pt modelId="{06B18235-CEB8-41FB-89BB-F680F942D127}" type="parTrans" cxnId="{8019B3B6-EDE0-4883-8A7F-CDB0943501D1}">
      <dgm:prSet/>
      <dgm:spPr/>
      <dgm:t>
        <a:bodyPr/>
        <a:lstStyle/>
        <a:p>
          <a:pPr algn="just"/>
          <a:endParaRPr lang="es-CO" sz="2000">
            <a:solidFill>
              <a:srgbClr val="002060"/>
            </a:solidFill>
          </a:endParaRPr>
        </a:p>
      </dgm:t>
    </dgm:pt>
    <dgm:pt modelId="{5BAD095D-B658-4732-A797-BE6998370E02}" type="sibTrans" cxnId="{8019B3B6-EDE0-4883-8A7F-CDB0943501D1}">
      <dgm:prSet/>
      <dgm:spPr/>
      <dgm:t>
        <a:bodyPr/>
        <a:lstStyle/>
        <a:p>
          <a:pPr algn="just"/>
          <a:endParaRPr lang="es-CO" sz="2000">
            <a:solidFill>
              <a:srgbClr val="002060"/>
            </a:solidFill>
          </a:endParaRPr>
        </a:p>
      </dgm:t>
    </dgm:pt>
    <dgm:pt modelId="{A4CAAC57-2948-4A8B-9A3E-143CB870F120}">
      <dgm:prSet custT="1"/>
      <dgm:spPr/>
      <dgm:t>
        <a:bodyPr/>
        <a:lstStyle/>
        <a:p>
          <a:pPr algn="just"/>
          <a:r>
            <a:rPr lang="es-MX" sz="2000" u="none" dirty="0" smtClean="0">
              <a:latin typeface="+mn-lt"/>
              <a:ea typeface="Verdana" pitchFamily="34" charset="0"/>
              <a:cs typeface="Verdana" pitchFamily="34" charset="0"/>
            </a:rPr>
            <a:t>Permanencia</a:t>
          </a:r>
          <a:endParaRPr lang="es-MX" sz="2000" u="none" dirty="0">
            <a:latin typeface="+mn-lt"/>
            <a:ea typeface="Verdana" pitchFamily="34" charset="0"/>
            <a:cs typeface="Verdana" pitchFamily="34" charset="0"/>
          </a:endParaRPr>
        </a:p>
      </dgm:t>
    </dgm:pt>
    <dgm:pt modelId="{E3CEC7B2-E15E-4AD3-AF6B-8F248E3F0C5D}" type="parTrans" cxnId="{18BA46DA-54DB-4D6C-8B32-035558003E29}">
      <dgm:prSet/>
      <dgm:spPr/>
      <dgm:t>
        <a:bodyPr/>
        <a:lstStyle/>
        <a:p>
          <a:endParaRPr lang="es-CO" sz="1600"/>
        </a:p>
      </dgm:t>
    </dgm:pt>
    <dgm:pt modelId="{6CBC7A9F-A821-4A88-8770-3F2F2027B4DA}" type="sibTrans" cxnId="{18BA46DA-54DB-4D6C-8B32-035558003E29}">
      <dgm:prSet/>
      <dgm:spPr/>
      <dgm:t>
        <a:bodyPr/>
        <a:lstStyle/>
        <a:p>
          <a:endParaRPr lang="es-CO" sz="1600"/>
        </a:p>
      </dgm:t>
    </dgm:pt>
    <dgm:pt modelId="{B7DA0DE8-B0F5-489A-B5F3-6506F16D6BB3}">
      <dgm:prSet custT="1"/>
      <dgm:spPr/>
      <dgm:t>
        <a:bodyPr/>
        <a:lstStyle/>
        <a:p>
          <a:pPr algn="just"/>
          <a:r>
            <a:rPr lang="es-MX" sz="2000" u="none" smtClean="0">
              <a:latin typeface="+mn-lt"/>
              <a:ea typeface="Verdana" pitchFamily="34" charset="0"/>
              <a:cs typeface="Verdana" pitchFamily="34" charset="0"/>
            </a:rPr>
            <a:t>Apoyo a los estudiantes</a:t>
          </a:r>
          <a:endParaRPr lang="es-MX" sz="2000" u="none" dirty="0">
            <a:latin typeface="+mn-lt"/>
            <a:ea typeface="Verdana" pitchFamily="34" charset="0"/>
            <a:cs typeface="Verdana" pitchFamily="34" charset="0"/>
          </a:endParaRPr>
        </a:p>
      </dgm:t>
    </dgm:pt>
    <dgm:pt modelId="{E61CC22C-6D70-4D8A-A1AC-2F5624DEED98}" type="parTrans" cxnId="{D56BCA9D-0AF1-41D2-8AB4-0B4E0D5BB4C2}">
      <dgm:prSet/>
      <dgm:spPr/>
      <dgm:t>
        <a:bodyPr/>
        <a:lstStyle/>
        <a:p>
          <a:endParaRPr lang="es-CO" sz="1600"/>
        </a:p>
      </dgm:t>
    </dgm:pt>
    <dgm:pt modelId="{42AAFE18-2731-4DCC-A4D2-30DA6669292C}" type="sibTrans" cxnId="{D56BCA9D-0AF1-41D2-8AB4-0B4E0D5BB4C2}">
      <dgm:prSet/>
      <dgm:spPr/>
      <dgm:t>
        <a:bodyPr/>
        <a:lstStyle/>
        <a:p>
          <a:endParaRPr lang="es-CO" sz="1600"/>
        </a:p>
      </dgm:t>
    </dgm:pt>
    <dgm:pt modelId="{8638BDF1-7503-4C4D-9C49-1D20DEA0BB1B}">
      <dgm:prSet custT="1"/>
      <dgm:spPr/>
      <dgm:t>
        <a:bodyPr/>
        <a:lstStyle/>
        <a:p>
          <a:pPr algn="just"/>
          <a:r>
            <a:rPr lang="es-MX" sz="2000" u="none" smtClean="0">
              <a:latin typeface="+mn-lt"/>
              <a:ea typeface="Verdana" pitchFamily="34" charset="0"/>
              <a:cs typeface="Verdana" pitchFamily="34" charset="0"/>
            </a:rPr>
            <a:t>Acceso sector productivo</a:t>
          </a:r>
          <a:endParaRPr lang="es-MX" sz="2000" u="none" dirty="0">
            <a:latin typeface="+mn-lt"/>
            <a:ea typeface="Verdana" pitchFamily="34" charset="0"/>
            <a:cs typeface="Verdana" pitchFamily="34" charset="0"/>
          </a:endParaRPr>
        </a:p>
      </dgm:t>
    </dgm:pt>
    <dgm:pt modelId="{3877488F-18A1-4DF6-B093-E4F2A959A4AC}" type="parTrans" cxnId="{993C94AB-6296-426A-98CC-2901416D6C14}">
      <dgm:prSet/>
      <dgm:spPr/>
      <dgm:t>
        <a:bodyPr/>
        <a:lstStyle/>
        <a:p>
          <a:endParaRPr lang="es-CO" sz="1600"/>
        </a:p>
      </dgm:t>
    </dgm:pt>
    <dgm:pt modelId="{8EFD8100-D13C-4C5D-8966-325884ECB460}" type="sibTrans" cxnId="{993C94AB-6296-426A-98CC-2901416D6C14}">
      <dgm:prSet/>
      <dgm:spPr/>
      <dgm:t>
        <a:bodyPr/>
        <a:lstStyle/>
        <a:p>
          <a:endParaRPr lang="es-CO" sz="1600"/>
        </a:p>
      </dgm:t>
    </dgm:pt>
    <dgm:pt modelId="{7F91385E-E776-4514-8ADE-C527EC5F5390}">
      <dgm:prSet custT="1"/>
      <dgm:spPr/>
      <dgm:t>
        <a:bodyPr/>
        <a:lstStyle/>
        <a:p>
          <a:pPr algn="just"/>
          <a:r>
            <a:rPr lang="es-MX" sz="2000" u="none" smtClean="0">
              <a:latin typeface="+mn-lt"/>
              <a:ea typeface="Verdana" pitchFamily="34" charset="0"/>
              <a:cs typeface="Verdana" pitchFamily="34" charset="0"/>
            </a:rPr>
            <a:t>Divulgación de la oferta</a:t>
          </a:r>
          <a:endParaRPr lang="es-MX" sz="2000" u="none" dirty="0">
            <a:latin typeface="+mn-lt"/>
            <a:ea typeface="Verdana" pitchFamily="34" charset="0"/>
            <a:cs typeface="Verdana" pitchFamily="34" charset="0"/>
          </a:endParaRPr>
        </a:p>
      </dgm:t>
    </dgm:pt>
    <dgm:pt modelId="{E7350911-7A9A-4D41-A299-77D4F91F383C}" type="parTrans" cxnId="{08B26BCD-324A-4ABA-94C6-43217B9F94D0}">
      <dgm:prSet/>
      <dgm:spPr/>
      <dgm:t>
        <a:bodyPr/>
        <a:lstStyle/>
        <a:p>
          <a:endParaRPr lang="es-CO" sz="1600"/>
        </a:p>
      </dgm:t>
    </dgm:pt>
    <dgm:pt modelId="{62D8C9FA-AF3F-4C27-BB0A-E042E815A947}" type="sibTrans" cxnId="{08B26BCD-324A-4ABA-94C6-43217B9F94D0}">
      <dgm:prSet/>
      <dgm:spPr/>
      <dgm:t>
        <a:bodyPr/>
        <a:lstStyle/>
        <a:p>
          <a:endParaRPr lang="es-CO" sz="1600"/>
        </a:p>
      </dgm:t>
    </dgm:pt>
    <dgm:pt modelId="{8AFBA346-F076-49DF-8A94-E9E04D59A28E}">
      <dgm:prSet custT="1"/>
      <dgm:spPr/>
      <dgm:t>
        <a:bodyPr/>
        <a:lstStyle/>
        <a:p>
          <a:pPr algn="just"/>
          <a:r>
            <a:rPr lang="es-MX" sz="2000" u="none" smtClean="0">
              <a:latin typeface="+mn-lt"/>
              <a:ea typeface="Verdana" pitchFamily="34" charset="0"/>
              <a:cs typeface="Verdana" pitchFamily="34" charset="0"/>
            </a:rPr>
            <a:t>Articulación educativa</a:t>
          </a:r>
          <a:endParaRPr lang="es-MX" sz="2000" u="none" dirty="0">
            <a:latin typeface="+mn-lt"/>
            <a:ea typeface="Verdana" pitchFamily="34" charset="0"/>
            <a:cs typeface="Verdana" pitchFamily="34" charset="0"/>
          </a:endParaRPr>
        </a:p>
      </dgm:t>
    </dgm:pt>
    <dgm:pt modelId="{A6342655-4FDE-4DE2-AB71-DD7BFEEB5D83}" type="parTrans" cxnId="{77EBC404-0F12-4B6E-AB57-72AD99BABF32}">
      <dgm:prSet/>
      <dgm:spPr/>
      <dgm:t>
        <a:bodyPr/>
        <a:lstStyle/>
        <a:p>
          <a:endParaRPr lang="es-CO" sz="1600"/>
        </a:p>
      </dgm:t>
    </dgm:pt>
    <dgm:pt modelId="{DD1056A1-F291-404A-9635-D744F2568873}" type="sibTrans" cxnId="{77EBC404-0F12-4B6E-AB57-72AD99BABF32}">
      <dgm:prSet/>
      <dgm:spPr/>
      <dgm:t>
        <a:bodyPr/>
        <a:lstStyle/>
        <a:p>
          <a:endParaRPr lang="es-CO" sz="1600"/>
        </a:p>
      </dgm:t>
    </dgm:pt>
    <dgm:pt modelId="{33AC8322-AEC8-46B4-9E61-12DF1557F4F1}" type="pres">
      <dgm:prSet presAssocID="{F6F251FE-E3B1-41D0-9AD4-59597E0F13C9}" presName="linearFlow" presStyleCnt="0">
        <dgm:presLayoutVars>
          <dgm:dir/>
          <dgm:resizeHandles val="exact"/>
        </dgm:presLayoutVars>
      </dgm:prSet>
      <dgm:spPr/>
    </dgm:pt>
    <dgm:pt modelId="{D6F864FF-5319-415F-AC5B-62154A5BA0E5}" type="pres">
      <dgm:prSet presAssocID="{E61B9CB5-9E27-4131-BDE3-F92AF674A67E}" presName="composite" presStyleCnt="0"/>
      <dgm:spPr/>
    </dgm:pt>
    <dgm:pt modelId="{A06848A9-0673-48CE-9E8A-C7D28F82CB08}" type="pres">
      <dgm:prSet presAssocID="{E61B9CB5-9E27-4131-BDE3-F92AF674A67E}" presName="imgShp" presStyleLbl="fgImgPlace1" presStyleIdx="0" presStyleCnt="6"/>
      <dgm:spPr/>
    </dgm:pt>
    <dgm:pt modelId="{2CCCEE37-84CC-4FFB-BDD2-2EBFE568AA78}" type="pres">
      <dgm:prSet presAssocID="{E61B9CB5-9E27-4131-BDE3-F92AF674A67E}" presName="txShp" presStyleLbl="node1" presStyleIdx="0" presStyleCnt="6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D10434F6-8F83-4F50-8320-37B73A901959}" type="pres">
      <dgm:prSet presAssocID="{5BAD095D-B658-4732-A797-BE6998370E02}" presName="spacing" presStyleCnt="0"/>
      <dgm:spPr/>
    </dgm:pt>
    <dgm:pt modelId="{65FC4E71-C6FC-415D-AE48-2E7BB660DED7}" type="pres">
      <dgm:prSet presAssocID="{A4CAAC57-2948-4A8B-9A3E-143CB870F120}" presName="composite" presStyleCnt="0"/>
      <dgm:spPr/>
    </dgm:pt>
    <dgm:pt modelId="{D6AB906A-08BF-444F-AD94-8F4F589D9748}" type="pres">
      <dgm:prSet presAssocID="{A4CAAC57-2948-4A8B-9A3E-143CB870F120}" presName="imgShp" presStyleLbl="fgImgPlace1" presStyleIdx="1" presStyleCnt="6"/>
      <dgm:spPr/>
    </dgm:pt>
    <dgm:pt modelId="{1FDFC23A-E9FA-4EFC-95DC-F052523EAEAB}" type="pres">
      <dgm:prSet presAssocID="{A4CAAC57-2948-4A8B-9A3E-143CB870F120}" presName="txShp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E85D9726-8C81-4FED-B35A-3542414A16AF}" type="pres">
      <dgm:prSet presAssocID="{6CBC7A9F-A821-4A88-8770-3F2F2027B4DA}" presName="spacing" presStyleCnt="0"/>
      <dgm:spPr/>
    </dgm:pt>
    <dgm:pt modelId="{44484ADB-A5BB-4EA3-8D4D-0F530366E32D}" type="pres">
      <dgm:prSet presAssocID="{B7DA0DE8-B0F5-489A-B5F3-6506F16D6BB3}" presName="composite" presStyleCnt="0"/>
      <dgm:spPr/>
    </dgm:pt>
    <dgm:pt modelId="{4B922227-45CE-4E2F-B288-CE179C39C995}" type="pres">
      <dgm:prSet presAssocID="{B7DA0DE8-B0F5-489A-B5F3-6506F16D6BB3}" presName="imgShp" presStyleLbl="fgImgPlace1" presStyleIdx="2" presStyleCnt="6"/>
      <dgm:spPr/>
    </dgm:pt>
    <dgm:pt modelId="{BA81C47D-A3FB-4A37-9F8B-75D10D6E8A00}" type="pres">
      <dgm:prSet presAssocID="{B7DA0DE8-B0F5-489A-B5F3-6506F16D6BB3}" presName="txShp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16926B26-96CC-440C-95B9-26348BB86E54}" type="pres">
      <dgm:prSet presAssocID="{42AAFE18-2731-4DCC-A4D2-30DA6669292C}" presName="spacing" presStyleCnt="0"/>
      <dgm:spPr/>
    </dgm:pt>
    <dgm:pt modelId="{8BBA52C9-1F2F-4FA1-B124-AB2DE3478384}" type="pres">
      <dgm:prSet presAssocID="{8638BDF1-7503-4C4D-9C49-1D20DEA0BB1B}" presName="composite" presStyleCnt="0"/>
      <dgm:spPr/>
    </dgm:pt>
    <dgm:pt modelId="{3F7AA024-1F19-4421-9CF0-A820B84FFCBF}" type="pres">
      <dgm:prSet presAssocID="{8638BDF1-7503-4C4D-9C49-1D20DEA0BB1B}" presName="imgShp" presStyleLbl="fgImgPlace1" presStyleIdx="3" presStyleCnt="6"/>
      <dgm:spPr/>
    </dgm:pt>
    <dgm:pt modelId="{415F9641-0CCC-44A1-A251-AC2E59AC5AD1}" type="pres">
      <dgm:prSet presAssocID="{8638BDF1-7503-4C4D-9C49-1D20DEA0BB1B}" presName="txShp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E71FB116-F1C8-45E6-A512-9BF90567F51D}" type="pres">
      <dgm:prSet presAssocID="{8EFD8100-D13C-4C5D-8966-325884ECB460}" presName="spacing" presStyleCnt="0"/>
      <dgm:spPr/>
    </dgm:pt>
    <dgm:pt modelId="{E603B523-0895-4F46-AA5E-C571E55357A1}" type="pres">
      <dgm:prSet presAssocID="{8AFBA346-F076-49DF-8A94-E9E04D59A28E}" presName="composite" presStyleCnt="0"/>
      <dgm:spPr/>
    </dgm:pt>
    <dgm:pt modelId="{BA7EA86A-870E-48D7-9790-E8125ECB2E09}" type="pres">
      <dgm:prSet presAssocID="{8AFBA346-F076-49DF-8A94-E9E04D59A28E}" presName="imgShp" presStyleLbl="fgImgPlace1" presStyleIdx="4" presStyleCnt="6"/>
      <dgm:spPr/>
    </dgm:pt>
    <dgm:pt modelId="{F396FCAF-D882-47BB-B229-C8C8749A112D}" type="pres">
      <dgm:prSet presAssocID="{8AFBA346-F076-49DF-8A94-E9E04D59A28E}" presName="txShp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26785992-A178-46BB-9BD0-E28386018F19}" type="pres">
      <dgm:prSet presAssocID="{DD1056A1-F291-404A-9635-D744F2568873}" presName="spacing" presStyleCnt="0"/>
      <dgm:spPr/>
    </dgm:pt>
    <dgm:pt modelId="{F0608597-5960-4854-B976-49EBC13EA56D}" type="pres">
      <dgm:prSet presAssocID="{7F91385E-E776-4514-8ADE-C527EC5F5390}" presName="composite" presStyleCnt="0"/>
      <dgm:spPr/>
    </dgm:pt>
    <dgm:pt modelId="{84FEFB6A-981F-4DA3-9096-A5A1C6AD2A85}" type="pres">
      <dgm:prSet presAssocID="{7F91385E-E776-4514-8ADE-C527EC5F5390}" presName="imgShp" presStyleLbl="fgImgPlace1" presStyleIdx="5" presStyleCnt="6"/>
      <dgm:spPr/>
    </dgm:pt>
    <dgm:pt modelId="{02611F49-B841-4787-8EDC-56CB38E0980C}" type="pres">
      <dgm:prSet presAssocID="{7F91385E-E776-4514-8ADE-C527EC5F5390}" presName="txShp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8019B3B6-EDE0-4883-8A7F-CDB0943501D1}" srcId="{F6F251FE-E3B1-41D0-9AD4-59597E0F13C9}" destId="{E61B9CB5-9E27-4131-BDE3-F92AF674A67E}" srcOrd="0" destOrd="0" parTransId="{06B18235-CEB8-41FB-89BB-F680F942D127}" sibTransId="{5BAD095D-B658-4732-A797-BE6998370E02}"/>
    <dgm:cxn modelId="{D4349A7A-B4D5-44ED-BF30-2C2B2E65C041}" type="presOf" srcId="{7F91385E-E776-4514-8ADE-C527EC5F5390}" destId="{02611F49-B841-4787-8EDC-56CB38E0980C}" srcOrd="0" destOrd="0" presId="urn:microsoft.com/office/officeart/2005/8/layout/vList3#2"/>
    <dgm:cxn modelId="{0096B3BD-F7F1-4D7F-8307-64BA1AD3DD6E}" type="presOf" srcId="{8638BDF1-7503-4C4D-9C49-1D20DEA0BB1B}" destId="{415F9641-0CCC-44A1-A251-AC2E59AC5AD1}" srcOrd="0" destOrd="0" presId="urn:microsoft.com/office/officeart/2005/8/layout/vList3#2"/>
    <dgm:cxn modelId="{D56BCA9D-0AF1-41D2-8AB4-0B4E0D5BB4C2}" srcId="{F6F251FE-E3B1-41D0-9AD4-59597E0F13C9}" destId="{B7DA0DE8-B0F5-489A-B5F3-6506F16D6BB3}" srcOrd="2" destOrd="0" parTransId="{E61CC22C-6D70-4D8A-A1AC-2F5624DEED98}" sibTransId="{42AAFE18-2731-4DCC-A4D2-30DA6669292C}"/>
    <dgm:cxn modelId="{F7DCF5B7-E21B-4519-9611-4A819E207DE5}" type="presOf" srcId="{8AFBA346-F076-49DF-8A94-E9E04D59A28E}" destId="{F396FCAF-D882-47BB-B229-C8C8749A112D}" srcOrd="0" destOrd="0" presId="urn:microsoft.com/office/officeart/2005/8/layout/vList3#2"/>
    <dgm:cxn modelId="{993C94AB-6296-426A-98CC-2901416D6C14}" srcId="{F6F251FE-E3B1-41D0-9AD4-59597E0F13C9}" destId="{8638BDF1-7503-4C4D-9C49-1D20DEA0BB1B}" srcOrd="3" destOrd="0" parTransId="{3877488F-18A1-4DF6-B093-E4F2A959A4AC}" sibTransId="{8EFD8100-D13C-4C5D-8966-325884ECB460}"/>
    <dgm:cxn modelId="{08B26BCD-324A-4ABA-94C6-43217B9F94D0}" srcId="{F6F251FE-E3B1-41D0-9AD4-59597E0F13C9}" destId="{7F91385E-E776-4514-8ADE-C527EC5F5390}" srcOrd="5" destOrd="0" parTransId="{E7350911-7A9A-4D41-A299-77D4F91F383C}" sibTransId="{62D8C9FA-AF3F-4C27-BB0A-E042E815A947}"/>
    <dgm:cxn modelId="{18BA46DA-54DB-4D6C-8B32-035558003E29}" srcId="{F6F251FE-E3B1-41D0-9AD4-59597E0F13C9}" destId="{A4CAAC57-2948-4A8B-9A3E-143CB870F120}" srcOrd="1" destOrd="0" parTransId="{E3CEC7B2-E15E-4AD3-AF6B-8F248E3F0C5D}" sibTransId="{6CBC7A9F-A821-4A88-8770-3F2F2027B4DA}"/>
    <dgm:cxn modelId="{CE8C5EEA-1A33-47AD-830F-88C31E27829B}" type="presOf" srcId="{B7DA0DE8-B0F5-489A-B5F3-6506F16D6BB3}" destId="{BA81C47D-A3FB-4A37-9F8B-75D10D6E8A00}" srcOrd="0" destOrd="0" presId="urn:microsoft.com/office/officeart/2005/8/layout/vList3#2"/>
    <dgm:cxn modelId="{4EA85F80-1A72-4BD0-823E-A45E8306CC33}" type="presOf" srcId="{F6F251FE-E3B1-41D0-9AD4-59597E0F13C9}" destId="{33AC8322-AEC8-46B4-9E61-12DF1557F4F1}" srcOrd="0" destOrd="0" presId="urn:microsoft.com/office/officeart/2005/8/layout/vList3#2"/>
    <dgm:cxn modelId="{77EBC404-0F12-4B6E-AB57-72AD99BABF32}" srcId="{F6F251FE-E3B1-41D0-9AD4-59597E0F13C9}" destId="{8AFBA346-F076-49DF-8A94-E9E04D59A28E}" srcOrd="4" destOrd="0" parTransId="{A6342655-4FDE-4DE2-AB71-DD7BFEEB5D83}" sibTransId="{DD1056A1-F291-404A-9635-D744F2568873}"/>
    <dgm:cxn modelId="{D205D5E5-4145-49DB-9FE1-BADC8331CCD9}" type="presOf" srcId="{E61B9CB5-9E27-4131-BDE3-F92AF674A67E}" destId="{2CCCEE37-84CC-4FFB-BDD2-2EBFE568AA78}" srcOrd="0" destOrd="0" presId="urn:microsoft.com/office/officeart/2005/8/layout/vList3#2"/>
    <dgm:cxn modelId="{04D8BEF4-38A0-4DDD-AE33-855AA899B45C}" type="presOf" srcId="{A4CAAC57-2948-4A8B-9A3E-143CB870F120}" destId="{1FDFC23A-E9FA-4EFC-95DC-F052523EAEAB}" srcOrd="0" destOrd="0" presId="urn:microsoft.com/office/officeart/2005/8/layout/vList3#2"/>
    <dgm:cxn modelId="{01671264-CEB9-4706-929A-ED78DA8AF2EB}" type="presParOf" srcId="{33AC8322-AEC8-46B4-9E61-12DF1557F4F1}" destId="{D6F864FF-5319-415F-AC5B-62154A5BA0E5}" srcOrd="0" destOrd="0" presId="urn:microsoft.com/office/officeart/2005/8/layout/vList3#2"/>
    <dgm:cxn modelId="{DBD4013F-B32A-4CE5-98B1-A15E34EC8BD8}" type="presParOf" srcId="{D6F864FF-5319-415F-AC5B-62154A5BA0E5}" destId="{A06848A9-0673-48CE-9E8A-C7D28F82CB08}" srcOrd="0" destOrd="0" presId="urn:microsoft.com/office/officeart/2005/8/layout/vList3#2"/>
    <dgm:cxn modelId="{AE7304E6-EE6E-4257-8743-7EEBEF34FEB3}" type="presParOf" srcId="{D6F864FF-5319-415F-AC5B-62154A5BA0E5}" destId="{2CCCEE37-84CC-4FFB-BDD2-2EBFE568AA78}" srcOrd="1" destOrd="0" presId="urn:microsoft.com/office/officeart/2005/8/layout/vList3#2"/>
    <dgm:cxn modelId="{90F7BDF5-8815-4882-9E5F-46B12DE740AA}" type="presParOf" srcId="{33AC8322-AEC8-46B4-9E61-12DF1557F4F1}" destId="{D10434F6-8F83-4F50-8320-37B73A901959}" srcOrd="1" destOrd="0" presId="urn:microsoft.com/office/officeart/2005/8/layout/vList3#2"/>
    <dgm:cxn modelId="{02F4BCD0-F042-444A-806A-AE64AF0EFF26}" type="presParOf" srcId="{33AC8322-AEC8-46B4-9E61-12DF1557F4F1}" destId="{65FC4E71-C6FC-415D-AE48-2E7BB660DED7}" srcOrd="2" destOrd="0" presId="urn:microsoft.com/office/officeart/2005/8/layout/vList3#2"/>
    <dgm:cxn modelId="{86D1B0E2-D619-4D89-BE38-20707DFD3FEE}" type="presParOf" srcId="{65FC4E71-C6FC-415D-AE48-2E7BB660DED7}" destId="{D6AB906A-08BF-444F-AD94-8F4F589D9748}" srcOrd="0" destOrd="0" presId="urn:microsoft.com/office/officeart/2005/8/layout/vList3#2"/>
    <dgm:cxn modelId="{BB9F1143-1ECE-4DAF-BA21-93D0B4917BF5}" type="presParOf" srcId="{65FC4E71-C6FC-415D-AE48-2E7BB660DED7}" destId="{1FDFC23A-E9FA-4EFC-95DC-F052523EAEAB}" srcOrd="1" destOrd="0" presId="urn:microsoft.com/office/officeart/2005/8/layout/vList3#2"/>
    <dgm:cxn modelId="{B7480CE1-3DCC-427B-B468-D2EC7524055E}" type="presParOf" srcId="{33AC8322-AEC8-46B4-9E61-12DF1557F4F1}" destId="{E85D9726-8C81-4FED-B35A-3542414A16AF}" srcOrd="3" destOrd="0" presId="urn:microsoft.com/office/officeart/2005/8/layout/vList3#2"/>
    <dgm:cxn modelId="{1027C1B1-2CEE-4CEC-AF97-AAFA275B4C9E}" type="presParOf" srcId="{33AC8322-AEC8-46B4-9E61-12DF1557F4F1}" destId="{44484ADB-A5BB-4EA3-8D4D-0F530366E32D}" srcOrd="4" destOrd="0" presId="urn:microsoft.com/office/officeart/2005/8/layout/vList3#2"/>
    <dgm:cxn modelId="{510A8B50-42E6-4515-AA55-AD8CF48B0140}" type="presParOf" srcId="{44484ADB-A5BB-4EA3-8D4D-0F530366E32D}" destId="{4B922227-45CE-4E2F-B288-CE179C39C995}" srcOrd="0" destOrd="0" presId="urn:microsoft.com/office/officeart/2005/8/layout/vList3#2"/>
    <dgm:cxn modelId="{8739DB30-9CC4-47B2-AD6F-D55F374C499F}" type="presParOf" srcId="{44484ADB-A5BB-4EA3-8D4D-0F530366E32D}" destId="{BA81C47D-A3FB-4A37-9F8B-75D10D6E8A00}" srcOrd="1" destOrd="0" presId="urn:microsoft.com/office/officeart/2005/8/layout/vList3#2"/>
    <dgm:cxn modelId="{2FC1AC09-C495-4D77-BB7E-1CF82729C6E5}" type="presParOf" srcId="{33AC8322-AEC8-46B4-9E61-12DF1557F4F1}" destId="{16926B26-96CC-440C-95B9-26348BB86E54}" srcOrd="5" destOrd="0" presId="urn:microsoft.com/office/officeart/2005/8/layout/vList3#2"/>
    <dgm:cxn modelId="{22EB9A0D-55AF-4191-92E1-B5FC59F0D821}" type="presParOf" srcId="{33AC8322-AEC8-46B4-9E61-12DF1557F4F1}" destId="{8BBA52C9-1F2F-4FA1-B124-AB2DE3478384}" srcOrd="6" destOrd="0" presId="urn:microsoft.com/office/officeart/2005/8/layout/vList3#2"/>
    <dgm:cxn modelId="{4A986FAA-82A0-4319-B298-0F2BAE12F195}" type="presParOf" srcId="{8BBA52C9-1F2F-4FA1-B124-AB2DE3478384}" destId="{3F7AA024-1F19-4421-9CF0-A820B84FFCBF}" srcOrd="0" destOrd="0" presId="urn:microsoft.com/office/officeart/2005/8/layout/vList3#2"/>
    <dgm:cxn modelId="{F30463A8-D7EF-4F31-A4A3-FBA0C88FC160}" type="presParOf" srcId="{8BBA52C9-1F2F-4FA1-B124-AB2DE3478384}" destId="{415F9641-0CCC-44A1-A251-AC2E59AC5AD1}" srcOrd="1" destOrd="0" presId="urn:microsoft.com/office/officeart/2005/8/layout/vList3#2"/>
    <dgm:cxn modelId="{07E2F9B1-A0CA-4152-8EC1-9724E30348D3}" type="presParOf" srcId="{33AC8322-AEC8-46B4-9E61-12DF1557F4F1}" destId="{E71FB116-F1C8-45E6-A512-9BF90567F51D}" srcOrd="7" destOrd="0" presId="urn:microsoft.com/office/officeart/2005/8/layout/vList3#2"/>
    <dgm:cxn modelId="{7593074F-207D-4826-B689-DA462B596044}" type="presParOf" srcId="{33AC8322-AEC8-46B4-9E61-12DF1557F4F1}" destId="{E603B523-0895-4F46-AA5E-C571E55357A1}" srcOrd="8" destOrd="0" presId="urn:microsoft.com/office/officeart/2005/8/layout/vList3#2"/>
    <dgm:cxn modelId="{7F2C4CCC-5AA6-437C-BF8A-F3ED11B426B1}" type="presParOf" srcId="{E603B523-0895-4F46-AA5E-C571E55357A1}" destId="{BA7EA86A-870E-48D7-9790-E8125ECB2E09}" srcOrd="0" destOrd="0" presId="urn:microsoft.com/office/officeart/2005/8/layout/vList3#2"/>
    <dgm:cxn modelId="{2D968522-523A-4BB0-9456-F6D61EB4ADC4}" type="presParOf" srcId="{E603B523-0895-4F46-AA5E-C571E55357A1}" destId="{F396FCAF-D882-47BB-B229-C8C8749A112D}" srcOrd="1" destOrd="0" presId="urn:microsoft.com/office/officeart/2005/8/layout/vList3#2"/>
    <dgm:cxn modelId="{06A69E92-7E33-43F6-9304-941C919FCDF1}" type="presParOf" srcId="{33AC8322-AEC8-46B4-9E61-12DF1557F4F1}" destId="{26785992-A178-46BB-9BD0-E28386018F19}" srcOrd="9" destOrd="0" presId="urn:microsoft.com/office/officeart/2005/8/layout/vList3#2"/>
    <dgm:cxn modelId="{7E77E4FE-525A-4D4F-A37E-5C10146D0EDF}" type="presParOf" srcId="{33AC8322-AEC8-46B4-9E61-12DF1557F4F1}" destId="{F0608597-5960-4854-B976-49EBC13EA56D}" srcOrd="10" destOrd="0" presId="urn:microsoft.com/office/officeart/2005/8/layout/vList3#2"/>
    <dgm:cxn modelId="{06CB5AC2-CB03-467B-B527-FD2CDE555FA4}" type="presParOf" srcId="{F0608597-5960-4854-B976-49EBC13EA56D}" destId="{84FEFB6A-981F-4DA3-9096-A5A1C6AD2A85}" srcOrd="0" destOrd="0" presId="urn:microsoft.com/office/officeart/2005/8/layout/vList3#2"/>
    <dgm:cxn modelId="{2443BFBB-CDFE-420C-8146-A5264E8544C5}" type="presParOf" srcId="{F0608597-5960-4854-B976-49EBC13EA56D}" destId="{02611F49-B841-4787-8EDC-56CB38E0980C}" srcOrd="1" destOrd="0" presId="urn:microsoft.com/office/officeart/2005/8/layout/vList3#2"/>
  </dgm:cxnLst>
  <dgm:bg>
    <a:noFill/>
  </dgm:bg>
  <dgm:whole/>
  <dgm:extLst>
    <a:ext uri="http://schemas.microsoft.com/office/drawing/2008/diagram">
      <dsp:dataModelExt xmlns:dsp="http://schemas.microsoft.com/office/drawing/2008/diagram" xmlns="" relId="rId11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F6F251FE-E3B1-41D0-9AD4-59597E0F13C9}" type="doc">
      <dgm:prSet loTypeId="urn:microsoft.com/office/officeart/2005/8/layout/vList3#3" loCatId="list" qsTypeId="urn:microsoft.com/office/officeart/2005/8/quickstyle/simple1" qsCatId="simple" csTypeId="urn:microsoft.com/office/officeart/2005/8/colors/accent6_1" csCatId="accent6" phldr="1"/>
      <dgm:spPr/>
    </dgm:pt>
    <dgm:pt modelId="{E61B9CB5-9E27-4131-BDE3-F92AF674A67E}">
      <dgm:prSet custT="1"/>
      <dgm:spPr/>
      <dgm:t>
        <a:bodyPr/>
        <a:lstStyle/>
        <a:p>
          <a:pPr algn="just"/>
          <a:r>
            <a:rPr lang="es-CO" sz="2000" b="0" smtClean="0">
              <a:effectLst/>
            </a:rPr>
            <a:t>Perfil de egreso</a:t>
          </a:r>
          <a:endParaRPr lang="es-MX" sz="2000" b="0" u="none" dirty="0">
            <a:latin typeface="+mn-lt"/>
            <a:ea typeface="Verdana" pitchFamily="34" charset="0"/>
            <a:cs typeface="Verdana" pitchFamily="34" charset="0"/>
          </a:endParaRPr>
        </a:p>
      </dgm:t>
    </dgm:pt>
    <dgm:pt modelId="{06B18235-CEB8-41FB-89BB-F680F942D127}" type="parTrans" cxnId="{8019B3B6-EDE0-4883-8A7F-CDB0943501D1}">
      <dgm:prSet/>
      <dgm:spPr/>
      <dgm:t>
        <a:bodyPr/>
        <a:lstStyle/>
        <a:p>
          <a:pPr algn="just"/>
          <a:endParaRPr lang="es-CO" sz="2000">
            <a:solidFill>
              <a:srgbClr val="002060"/>
            </a:solidFill>
          </a:endParaRPr>
        </a:p>
      </dgm:t>
    </dgm:pt>
    <dgm:pt modelId="{5BAD095D-B658-4732-A797-BE6998370E02}" type="sibTrans" cxnId="{8019B3B6-EDE0-4883-8A7F-CDB0943501D1}">
      <dgm:prSet/>
      <dgm:spPr/>
      <dgm:t>
        <a:bodyPr/>
        <a:lstStyle/>
        <a:p>
          <a:pPr algn="just"/>
          <a:endParaRPr lang="es-CO" sz="2000">
            <a:solidFill>
              <a:srgbClr val="002060"/>
            </a:solidFill>
          </a:endParaRPr>
        </a:p>
      </dgm:t>
    </dgm:pt>
    <dgm:pt modelId="{58D87FB3-CD40-4F8B-B52B-8B87DED4C55C}">
      <dgm:prSet custT="1"/>
      <dgm:spPr/>
      <dgm:t>
        <a:bodyPr/>
        <a:lstStyle/>
        <a:p>
          <a:pPr algn="just"/>
          <a:r>
            <a:rPr lang="es-MX" sz="2000" b="0" u="none" smtClean="0">
              <a:latin typeface="+mn-lt"/>
              <a:ea typeface="Verdana" pitchFamily="34" charset="0"/>
              <a:cs typeface="Verdana" pitchFamily="34" charset="0"/>
            </a:rPr>
            <a:t>Diseño curricular</a:t>
          </a:r>
          <a:endParaRPr lang="es-MX" sz="2000" b="0" u="none" dirty="0">
            <a:latin typeface="+mn-lt"/>
            <a:ea typeface="Verdana" pitchFamily="34" charset="0"/>
            <a:cs typeface="Verdana" pitchFamily="34" charset="0"/>
          </a:endParaRPr>
        </a:p>
      </dgm:t>
    </dgm:pt>
    <dgm:pt modelId="{328AB754-3DAB-4D56-9D25-93A6508AD86A}" type="parTrans" cxnId="{F7B91381-0CC1-4C52-A070-9871827D43CE}">
      <dgm:prSet/>
      <dgm:spPr/>
      <dgm:t>
        <a:bodyPr/>
        <a:lstStyle/>
        <a:p>
          <a:endParaRPr lang="es-CO"/>
        </a:p>
      </dgm:t>
    </dgm:pt>
    <dgm:pt modelId="{08710812-198C-4592-8C91-F74DCBADB1A0}" type="sibTrans" cxnId="{F7B91381-0CC1-4C52-A070-9871827D43CE}">
      <dgm:prSet/>
      <dgm:spPr/>
      <dgm:t>
        <a:bodyPr/>
        <a:lstStyle/>
        <a:p>
          <a:endParaRPr lang="es-CO"/>
        </a:p>
      </dgm:t>
    </dgm:pt>
    <dgm:pt modelId="{7025C94A-7A60-410B-8216-C82234F1A7E8}">
      <dgm:prSet custT="1"/>
      <dgm:spPr/>
      <dgm:t>
        <a:bodyPr/>
        <a:lstStyle/>
        <a:p>
          <a:pPr algn="just"/>
          <a:r>
            <a:rPr lang="es-MX" sz="2000" b="0" u="none" smtClean="0">
              <a:latin typeface="+mn-lt"/>
              <a:ea typeface="Verdana" pitchFamily="34" charset="0"/>
              <a:cs typeface="Verdana" pitchFamily="34" charset="0"/>
            </a:rPr>
            <a:t>Estrategia de formación</a:t>
          </a:r>
          <a:endParaRPr lang="es-MX" sz="2000" b="0" u="none" dirty="0">
            <a:latin typeface="+mn-lt"/>
            <a:ea typeface="Verdana" pitchFamily="34" charset="0"/>
            <a:cs typeface="Verdana" pitchFamily="34" charset="0"/>
          </a:endParaRPr>
        </a:p>
      </dgm:t>
    </dgm:pt>
    <dgm:pt modelId="{F0810A11-BF62-49FE-9D58-CCFBA3BA6322}" type="parTrans" cxnId="{102D8AC4-3709-4A80-9564-F971A6E78151}">
      <dgm:prSet/>
      <dgm:spPr/>
      <dgm:t>
        <a:bodyPr/>
        <a:lstStyle/>
        <a:p>
          <a:endParaRPr lang="es-CO"/>
        </a:p>
      </dgm:t>
    </dgm:pt>
    <dgm:pt modelId="{BB617F07-E3A7-40E3-9B0C-8188AD2C3729}" type="sibTrans" cxnId="{102D8AC4-3709-4A80-9564-F971A6E78151}">
      <dgm:prSet/>
      <dgm:spPr/>
      <dgm:t>
        <a:bodyPr/>
        <a:lstStyle/>
        <a:p>
          <a:endParaRPr lang="es-CO"/>
        </a:p>
      </dgm:t>
    </dgm:pt>
    <dgm:pt modelId="{8C1085CC-B5EA-48CB-AFBB-FAD0BBA529F6}">
      <dgm:prSet custT="1"/>
      <dgm:spPr/>
      <dgm:t>
        <a:bodyPr/>
        <a:lstStyle/>
        <a:p>
          <a:pPr algn="just"/>
          <a:r>
            <a:rPr lang="es-MX" sz="2000" b="0" u="none" smtClean="0">
              <a:latin typeface="+mn-lt"/>
              <a:ea typeface="Verdana" pitchFamily="34" charset="0"/>
              <a:cs typeface="Verdana" pitchFamily="34" charset="0"/>
            </a:rPr>
            <a:t>Ambientes y recursos de aprendizaje</a:t>
          </a:r>
          <a:endParaRPr lang="es-MX" sz="2000" b="0" u="none" dirty="0">
            <a:latin typeface="+mn-lt"/>
            <a:ea typeface="Verdana" pitchFamily="34" charset="0"/>
            <a:cs typeface="Verdana" pitchFamily="34" charset="0"/>
          </a:endParaRPr>
        </a:p>
      </dgm:t>
    </dgm:pt>
    <dgm:pt modelId="{2ADAEEEF-29AE-44FD-B10A-947814F301B4}" type="parTrans" cxnId="{B8CFEB5A-8A07-4A4C-B045-F7BD75C3E8B2}">
      <dgm:prSet/>
      <dgm:spPr/>
      <dgm:t>
        <a:bodyPr/>
        <a:lstStyle/>
        <a:p>
          <a:endParaRPr lang="es-CO"/>
        </a:p>
      </dgm:t>
    </dgm:pt>
    <dgm:pt modelId="{CF97D4AF-EC91-43CE-95F7-2B479AD20FF3}" type="sibTrans" cxnId="{B8CFEB5A-8A07-4A4C-B045-F7BD75C3E8B2}">
      <dgm:prSet/>
      <dgm:spPr/>
      <dgm:t>
        <a:bodyPr/>
        <a:lstStyle/>
        <a:p>
          <a:endParaRPr lang="es-CO"/>
        </a:p>
      </dgm:t>
    </dgm:pt>
    <dgm:pt modelId="{FBFFE778-0DCF-453B-A022-F58D5D3AECE6}">
      <dgm:prSet custT="1"/>
      <dgm:spPr/>
      <dgm:t>
        <a:bodyPr/>
        <a:lstStyle/>
        <a:p>
          <a:pPr algn="just"/>
          <a:r>
            <a:rPr lang="es-MX" sz="2000" b="0" u="none" smtClean="0">
              <a:latin typeface="+mn-lt"/>
              <a:ea typeface="Verdana" pitchFamily="34" charset="0"/>
              <a:cs typeface="Verdana" pitchFamily="34" charset="0"/>
            </a:rPr>
            <a:t>Orientación al estudiante</a:t>
          </a:r>
          <a:endParaRPr lang="es-MX" sz="2000" b="0" u="none" dirty="0">
            <a:latin typeface="+mn-lt"/>
            <a:ea typeface="Verdana" pitchFamily="34" charset="0"/>
            <a:cs typeface="Verdana" pitchFamily="34" charset="0"/>
          </a:endParaRPr>
        </a:p>
      </dgm:t>
    </dgm:pt>
    <dgm:pt modelId="{EFBE3D6A-5B49-4A1B-8A62-E8B40D820D27}" type="parTrans" cxnId="{65F07082-7D41-407A-AB68-358B2F51C7A7}">
      <dgm:prSet/>
      <dgm:spPr/>
      <dgm:t>
        <a:bodyPr/>
        <a:lstStyle/>
        <a:p>
          <a:endParaRPr lang="es-CO"/>
        </a:p>
      </dgm:t>
    </dgm:pt>
    <dgm:pt modelId="{E789D949-B21C-40E6-9BEC-BF6BB9144D42}" type="sibTrans" cxnId="{65F07082-7D41-407A-AB68-358B2F51C7A7}">
      <dgm:prSet/>
      <dgm:spPr/>
      <dgm:t>
        <a:bodyPr/>
        <a:lstStyle/>
        <a:p>
          <a:endParaRPr lang="es-CO"/>
        </a:p>
      </dgm:t>
    </dgm:pt>
    <dgm:pt modelId="{EA13C615-5FF4-4D9F-919F-89301FFEB349}">
      <dgm:prSet custT="1"/>
      <dgm:spPr/>
      <dgm:t>
        <a:bodyPr/>
        <a:lstStyle/>
        <a:p>
          <a:pPr algn="just"/>
          <a:r>
            <a:rPr lang="es-MX" sz="2000" b="0" u="none" smtClean="0">
              <a:latin typeface="+mn-lt"/>
              <a:ea typeface="Verdana" pitchFamily="34" charset="0"/>
              <a:cs typeface="Verdana" pitchFamily="34" charset="0"/>
            </a:rPr>
            <a:t>Resultados</a:t>
          </a:r>
          <a:endParaRPr lang="es-MX" sz="2000" b="0" u="none" dirty="0">
            <a:latin typeface="+mn-lt"/>
            <a:ea typeface="Verdana" pitchFamily="34" charset="0"/>
            <a:cs typeface="Verdana" pitchFamily="34" charset="0"/>
          </a:endParaRPr>
        </a:p>
      </dgm:t>
    </dgm:pt>
    <dgm:pt modelId="{1A3690C9-9853-48B8-B034-261EC9FCFDE2}" type="parTrans" cxnId="{1F2B6709-6922-41D7-8C13-D895A04E1C8E}">
      <dgm:prSet/>
      <dgm:spPr/>
      <dgm:t>
        <a:bodyPr/>
        <a:lstStyle/>
        <a:p>
          <a:endParaRPr lang="es-CO"/>
        </a:p>
      </dgm:t>
    </dgm:pt>
    <dgm:pt modelId="{41558635-5FEC-45A2-8E86-30F2B7F7A4A3}" type="sibTrans" cxnId="{1F2B6709-6922-41D7-8C13-D895A04E1C8E}">
      <dgm:prSet/>
      <dgm:spPr/>
      <dgm:t>
        <a:bodyPr/>
        <a:lstStyle/>
        <a:p>
          <a:endParaRPr lang="es-CO"/>
        </a:p>
      </dgm:t>
    </dgm:pt>
    <dgm:pt modelId="{33AC8322-AEC8-46B4-9E61-12DF1557F4F1}" type="pres">
      <dgm:prSet presAssocID="{F6F251FE-E3B1-41D0-9AD4-59597E0F13C9}" presName="linearFlow" presStyleCnt="0">
        <dgm:presLayoutVars>
          <dgm:dir/>
          <dgm:resizeHandles val="exact"/>
        </dgm:presLayoutVars>
      </dgm:prSet>
      <dgm:spPr/>
    </dgm:pt>
    <dgm:pt modelId="{D6F864FF-5319-415F-AC5B-62154A5BA0E5}" type="pres">
      <dgm:prSet presAssocID="{E61B9CB5-9E27-4131-BDE3-F92AF674A67E}" presName="composite" presStyleCnt="0"/>
      <dgm:spPr/>
    </dgm:pt>
    <dgm:pt modelId="{A06848A9-0673-48CE-9E8A-C7D28F82CB08}" type="pres">
      <dgm:prSet presAssocID="{E61B9CB5-9E27-4131-BDE3-F92AF674A67E}" presName="imgShp" presStyleLbl="fgImgPlace1" presStyleIdx="0" presStyleCnt="6"/>
      <dgm:spPr/>
    </dgm:pt>
    <dgm:pt modelId="{2CCCEE37-84CC-4FFB-BDD2-2EBFE568AA78}" type="pres">
      <dgm:prSet presAssocID="{E61B9CB5-9E27-4131-BDE3-F92AF674A67E}" presName="txShp" presStyleLbl="node1" presStyleIdx="0" presStyleCnt="6" custLinFactNeighborX="1194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D10434F6-8F83-4F50-8320-37B73A901959}" type="pres">
      <dgm:prSet presAssocID="{5BAD095D-B658-4732-A797-BE6998370E02}" presName="spacing" presStyleCnt="0"/>
      <dgm:spPr/>
    </dgm:pt>
    <dgm:pt modelId="{A61FBF47-81C0-4B41-8CE5-0A3AFC49A911}" type="pres">
      <dgm:prSet presAssocID="{58D87FB3-CD40-4F8B-B52B-8B87DED4C55C}" presName="composite" presStyleCnt="0"/>
      <dgm:spPr/>
    </dgm:pt>
    <dgm:pt modelId="{E3C91D00-E061-4C92-90EE-7F9079521B4E}" type="pres">
      <dgm:prSet presAssocID="{58D87FB3-CD40-4F8B-B52B-8B87DED4C55C}" presName="imgShp" presStyleLbl="fgImgPlace1" presStyleIdx="1" presStyleCnt="6"/>
      <dgm:spPr/>
    </dgm:pt>
    <dgm:pt modelId="{6167B104-8387-4618-A918-0C5B8BE70460}" type="pres">
      <dgm:prSet presAssocID="{58D87FB3-CD40-4F8B-B52B-8B87DED4C55C}" presName="txShp" presStyleLbl="node1" presStyleIdx="1" presStyleCnt="6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9EC7C1D8-43A2-44DA-A8B3-C522E6A14566}" type="pres">
      <dgm:prSet presAssocID="{08710812-198C-4592-8C91-F74DCBADB1A0}" presName="spacing" presStyleCnt="0"/>
      <dgm:spPr/>
    </dgm:pt>
    <dgm:pt modelId="{7F3CFDBB-771B-4DE6-B965-21C058531919}" type="pres">
      <dgm:prSet presAssocID="{7025C94A-7A60-410B-8216-C82234F1A7E8}" presName="composite" presStyleCnt="0"/>
      <dgm:spPr/>
    </dgm:pt>
    <dgm:pt modelId="{C6FBEE0D-95DE-4531-A594-2828237A1A1C}" type="pres">
      <dgm:prSet presAssocID="{7025C94A-7A60-410B-8216-C82234F1A7E8}" presName="imgShp" presStyleLbl="fgImgPlace1" presStyleIdx="2" presStyleCnt="6"/>
      <dgm:spPr/>
    </dgm:pt>
    <dgm:pt modelId="{3377F370-FA76-46CC-80DD-15DEF2F3AEAC}" type="pres">
      <dgm:prSet presAssocID="{7025C94A-7A60-410B-8216-C82234F1A7E8}" presName="txShp" presStyleLbl="node1" presStyleIdx="2" presStyleCnt="6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EFA7591A-6DB5-4CD6-B485-E784A532F00E}" type="pres">
      <dgm:prSet presAssocID="{BB617F07-E3A7-40E3-9B0C-8188AD2C3729}" presName="spacing" presStyleCnt="0"/>
      <dgm:spPr/>
    </dgm:pt>
    <dgm:pt modelId="{1F9B520D-2CFA-48F5-9975-EB874DD6FF26}" type="pres">
      <dgm:prSet presAssocID="{8C1085CC-B5EA-48CB-AFBB-FAD0BBA529F6}" presName="composite" presStyleCnt="0"/>
      <dgm:spPr/>
    </dgm:pt>
    <dgm:pt modelId="{FE010DDC-EF4B-43AF-8661-0DE03706571B}" type="pres">
      <dgm:prSet presAssocID="{8C1085CC-B5EA-48CB-AFBB-FAD0BBA529F6}" presName="imgShp" presStyleLbl="fgImgPlace1" presStyleIdx="3" presStyleCnt="6"/>
      <dgm:spPr/>
    </dgm:pt>
    <dgm:pt modelId="{594877A9-8A08-40E9-9FCB-37F24340B295}" type="pres">
      <dgm:prSet presAssocID="{8C1085CC-B5EA-48CB-AFBB-FAD0BBA529F6}" presName="txShp" presStyleLbl="node1" presStyleIdx="3" presStyleCnt="6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7144D58A-E1AF-4C65-8040-A807F58083C8}" type="pres">
      <dgm:prSet presAssocID="{CF97D4AF-EC91-43CE-95F7-2B479AD20FF3}" presName="spacing" presStyleCnt="0"/>
      <dgm:spPr/>
    </dgm:pt>
    <dgm:pt modelId="{8999EFA6-D691-4184-9979-6B8D98633755}" type="pres">
      <dgm:prSet presAssocID="{FBFFE778-0DCF-453B-A022-F58D5D3AECE6}" presName="composite" presStyleCnt="0"/>
      <dgm:spPr/>
    </dgm:pt>
    <dgm:pt modelId="{C65667AB-79B9-4237-9263-C5DCD799A16C}" type="pres">
      <dgm:prSet presAssocID="{FBFFE778-0DCF-453B-A022-F58D5D3AECE6}" presName="imgShp" presStyleLbl="fgImgPlace1" presStyleIdx="4" presStyleCnt="6"/>
      <dgm:spPr/>
    </dgm:pt>
    <dgm:pt modelId="{D1769513-1D7B-4A29-A35E-728C9428A191}" type="pres">
      <dgm:prSet presAssocID="{FBFFE778-0DCF-453B-A022-F58D5D3AECE6}" presName="txShp" presStyleLbl="node1" presStyleIdx="4" presStyleCnt="6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12EFDDE0-96E2-4202-859F-E3BEBF11D7A5}" type="pres">
      <dgm:prSet presAssocID="{E789D949-B21C-40E6-9BEC-BF6BB9144D42}" presName="spacing" presStyleCnt="0"/>
      <dgm:spPr/>
    </dgm:pt>
    <dgm:pt modelId="{3986B42E-12FF-4BD9-ADA6-73FE3C49B3DE}" type="pres">
      <dgm:prSet presAssocID="{EA13C615-5FF4-4D9F-919F-89301FFEB349}" presName="composite" presStyleCnt="0"/>
      <dgm:spPr/>
    </dgm:pt>
    <dgm:pt modelId="{2B6021C6-7717-432D-86DC-3024FDFA8E68}" type="pres">
      <dgm:prSet presAssocID="{EA13C615-5FF4-4D9F-919F-89301FFEB349}" presName="imgShp" presStyleLbl="fgImgPlace1" presStyleIdx="5" presStyleCnt="6"/>
      <dgm:spPr/>
    </dgm:pt>
    <dgm:pt modelId="{E9B61F9F-231F-4C68-8A5B-E081EECA0ED2}" type="pres">
      <dgm:prSet presAssocID="{EA13C615-5FF4-4D9F-919F-89301FFEB349}" presName="txShp" presStyleLbl="node1" presStyleIdx="5" presStyleCnt="6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D24B9DC6-A574-46D0-96BE-78040753D42F}" type="presOf" srcId="{7025C94A-7A60-410B-8216-C82234F1A7E8}" destId="{3377F370-FA76-46CC-80DD-15DEF2F3AEAC}" srcOrd="0" destOrd="0" presId="urn:microsoft.com/office/officeart/2005/8/layout/vList3#3"/>
    <dgm:cxn modelId="{8019B3B6-EDE0-4883-8A7F-CDB0943501D1}" srcId="{F6F251FE-E3B1-41D0-9AD4-59597E0F13C9}" destId="{E61B9CB5-9E27-4131-BDE3-F92AF674A67E}" srcOrd="0" destOrd="0" parTransId="{06B18235-CEB8-41FB-89BB-F680F942D127}" sibTransId="{5BAD095D-B658-4732-A797-BE6998370E02}"/>
    <dgm:cxn modelId="{6D39095D-319B-47AA-9C9A-F9C340FA1314}" type="presOf" srcId="{EA13C615-5FF4-4D9F-919F-89301FFEB349}" destId="{E9B61F9F-231F-4C68-8A5B-E081EECA0ED2}" srcOrd="0" destOrd="0" presId="urn:microsoft.com/office/officeart/2005/8/layout/vList3#3"/>
    <dgm:cxn modelId="{B8CFEB5A-8A07-4A4C-B045-F7BD75C3E8B2}" srcId="{F6F251FE-E3B1-41D0-9AD4-59597E0F13C9}" destId="{8C1085CC-B5EA-48CB-AFBB-FAD0BBA529F6}" srcOrd="3" destOrd="0" parTransId="{2ADAEEEF-29AE-44FD-B10A-947814F301B4}" sibTransId="{CF97D4AF-EC91-43CE-95F7-2B479AD20FF3}"/>
    <dgm:cxn modelId="{65F07082-7D41-407A-AB68-358B2F51C7A7}" srcId="{F6F251FE-E3B1-41D0-9AD4-59597E0F13C9}" destId="{FBFFE778-0DCF-453B-A022-F58D5D3AECE6}" srcOrd="4" destOrd="0" parTransId="{EFBE3D6A-5B49-4A1B-8A62-E8B40D820D27}" sibTransId="{E789D949-B21C-40E6-9BEC-BF6BB9144D42}"/>
    <dgm:cxn modelId="{C11E1731-B3DD-4D2B-8195-B1D1C74EA864}" type="presOf" srcId="{F6F251FE-E3B1-41D0-9AD4-59597E0F13C9}" destId="{33AC8322-AEC8-46B4-9E61-12DF1557F4F1}" srcOrd="0" destOrd="0" presId="urn:microsoft.com/office/officeart/2005/8/layout/vList3#3"/>
    <dgm:cxn modelId="{3FA595A1-A055-4A1D-8051-9C6722F3AACB}" type="presOf" srcId="{58D87FB3-CD40-4F8B-B52B-8B87DED4C55C}" destId="{6167B104-8387-4618-A918-0C5B8BE70460}" srcOrd="0" destOrd="0" presId="urn:microsoft.com/office/officeart/2005/8/layout/vList3#3"/>
    <dgm:cxn modelId="{1F2B6709-6922-41D7-8C13-D895A04E1C8E}" srcId="{F6F251FE-E3B1-41D0-9AD4-59597E0F13C9}" destId="{EA13C615-5FF4-4D9F-919F-89301FFEB349}" srcOrd="5" destOrd="0" parTransId="{1A3690C9-9853-48B8-B034-261EC9FCFDE2}" sibTransId="{41558635-5FEC-45A2-8E86-30F2B7F7A4A3}"/>
    <dgm:cxn modelId="{B7480A9F-698F-406F-A256-01555E552A9E}" type="presOf" srcId="{FBFFE778-0DCF-453B-A022-F58D5D3AECE6}" destId="{D1769513-1D7B-4A29-A35E-728C9428A191}" srcOrd="0" destOrd="0" presId="urn:microsoft.com/office/officeart/2005/8/layout/vList3#3"/>
    <dgm:cxn modelId="{F7B91381-0CC1-4C52-A070-9871827D43CE}" srcId="{F6F251FE-E3B1-41D0-9AD4-59597E0F13C9}" destId="{58D87FB3-CD40-4F8B-B52B-8B87DED4C55C}" srcOrd="1" destOrd="0" parTransId="{328AB754-3DAB-4D56-9D25-93A6508AD86A}" sibTransId="{08710812-198C-4592-8C91-F74DCBADB1A0}"/>
    <dgm:cxn modelId="{102D8AC4-3709-4A80-9564-F971A6E78151}" srcId="{F6F251FE-E3B1-41D0-9AD4-59597E0F13C9}" destId="{7025C94A-7A60-410B-8216-C82234F1A7E8}" srcOrd="2" destOrd="0" parTransId="{F0810A11-BF62-49FE-9D58-CCFBA3BA6322}" sibTransId="{BB617F07-E3A7-40E3-9B0C-8188AD2C3729}"/>
    <dgm:cxn modelId="{A117A27B-A662-4DC4-BC05-B1C59EF4E7D9}" type="presOf" srcId="{E61B9CB5-9E27-4131-BDE3-F92AF674A67E}" destId="{2CCCEE37-84CC-4FFB-BDD2-2EBFE568AA78}" srcOrd="0" destOrd="0" presId="urn:microsoft.com/office/officeart/2005/8/layout/vList3#3"/>
    <dgm:cxn modelId="{2539D515-97F7-418A-9875-401940E998C4}" type="presOf" srcId="{8C1085CC-B5EA-48CB-AFBB-FAD0BBA529F6}" destId="{594877A9-8A08-40E9-9FCB-37F24340B295}" srcOrd="0" destOrd="0" presId="urn:microsoft.com/office/officeart/2005/8/layout/vList3#3"/>
    <dgm:cxn modelId="{3187AF3C-7092-4109-8D2A-E75741C0DCC1}" type="presParOf" srcId="{33AC8322-AEC8-46B4-9E61-12DF1557F4F1}" destId="{D6F864FF-5319-415F-AC5B-62154A5BA0E5}" srcOrd="0" destOrd="0" presId="urn:microsoft.com/office/officeart/2005/8/layout/vList3#3"/>
    <dgm:cxn modelId="{BFE550C4-11A1-42E4-99A6-3D870D67034A}" type="presParOf" srcId="{D6F864FF-5319-415F-AC5B-62154A5BA0E5}" destId="{A06848A9-0673-48CE-9E8A-C7D28F82CB08}" srcOrd="0" destOrd="0" presId="urn:microsoft.com/office/officeart/2005/8/layout/vList3#3"/>
    <dgm:cxn modelId="{7E658B21-2744-4139-A611-94ABEB3D683B}" type="presParOf" srcId="{D6F864FF-5319-415F-AC5B-62154A5BA0E5}" destId="{2CCCEE37-84CC-4FFB-BDD2-2EBFE568AA78}" srcOrd="1" destOrd="0" presId="urn:microsoft.com/office/officeart/2005/8/layout/vList3#3"/>
    <dgm:cxn modelId="{B9AA7A10-5E7F-403F-B615-B484267209CA}" type="presParOf" srcId="{33AC8322-AEC8-46B4-9E61-12DF1557F4F1}" destId="{D10434F6-8F83-4F50-8320-37B73A901959}" srcOrd="1" destOrd="0" presId="urn:microsoft.com/office/officeart/2005/8/layout/vList3#3"/>
    <dgm:cxn modelId="{20B38348-DB52-4A07-8FE9-09437603BF98}" type="presParOf" srcId="{33AC8322-AEC8-46B4-9E61-12DF1557F4F1}" destId="{A61FBF47-81C0-4B41-8CE5-0A3AFC49A911}" srcOrd="2" destOrd="0" presId="urn:microsoft.com/office/officeart/2005/8/layout/vList3#3"/>
    <dgm:cxn modelId="{C25EF87A-5538-4B6D-995F-15A1FB7BDDFF}" type="presParOf" srcId="{A61FBF47-81C0-4B41-8CE5-0A3AFC49A911}" destId="{E3C91D00-E061-4C92-90EE-7F9079521B4E}" srcOrd="0" destOrd="0" presId="urn:microsoft.com/office/officeart/2005/8/layout/vList3#3"/>
    <dgm:cxn modelId="{D1382606-9AEE-430E-AC6A-3B3BA54B601C}" type="presParOf" srcId="{A61FBF47-81C0-4B41-8CE5-0A3AFC49A911}" destId="{6167B104-8387-4618-A918-0C5B8BE70460}" srcOrd="1" destOrd="0" presId="urn:microsoft.com/office/officeart/2005/8/layout/vList3#3"/>
    <dgm:cxn modelId="{EC138BE5-3107-442E-8832-50B1FE067415}" type="presParOf" srcId="{33AC8322-AEC8-46B4-9E61-12DF1557F4F1}" destId="{9EC7C1D8-43A2-44DA-A8B3-C522E6A14566}" srcOrd="3" destOrd="0" presId="urn:microsoft.com/office/officeart/2005/8/layout/vList3#3"/>
    <dgm:cxn modelId="{964A2A22-F455-45AD-B389-C4BBD4E4B111}" type="presParOf" srcId="{33AC8322-AEC8-46B4-9E61-12DF1557F4F1}" destId="{7F3CFDBB-771B-4DE6-B965-21C058531919}" srcOrd="4" destOrd="0" presId="urn:microsoft.com/office/officeart/2005/8/layout/vList3#3"/>
    <dgm:cxn modelId="{A254A3BC-CD27-4FFF-A61C-BDCDEE9CE383}" type="presParOf" srcId="{7F3CFDBB-771B-4DE6-B965-21C058531919}" destId="{C6FBEE0D-95DE-4531-A594-2828237A1A1C}" srcOrd="0" destOrd="0" presId="urn:microsoft.com/office/officeart/2005/8/layout/vList3#3"/>
    <dgm:cxn modelId="{CE26D375-E818-4B54-943B-6334DD96DE5C}" type="presParOf" srcId="{7F3CFDBB-771B-4DE6-B965-21C058531919}" destId="{3377F370-FA76-46CC-80DD-15DEF2F3AEAC}" srcOrd="1" destOrd="0" presId="urn:microsoft.com/office/officeart/2005/8/layout/vList3#3"/>
    <dgm:cxn modelId="{CC2DE91F-C679-4A88-9548-F2810138CE68}" type="presParOf" srcId="{33AC8322-AEC8-46B4-9E61-12DF1557F4F1}" destId="{EFA7591A-6DB5-4CD6-B485-E784A532F00E}" srcOrd="5" destOrd="0" presId="urn:microsoft.com/office/officeart/2005/8/layout/vList3#3"/>
    <dgm:cxn modelId="{0046EC6C-C649-4A61-93B5-5962E534834C}" type="presParOf" srcId="{33AC8322-AEC8-46B4-9E61-12DF1557F4F1}" destId="{1F9B520D-2CFA-48F5-9975-EB874DD6FF26}" srcOrd="6" destOrd="0" presId="urn:microsoft.com/office/officeart/2005/8/layout/vList3#3"/>
    <dgm:cxn modelId="{0FAB1195-5F2E-41D8-B7C9-4E3DBA7F2BB9}" type="presParOf" srcId="{1F9B520D-2CFA-48F5-9975-EB874DD6FF26}" destId="{FE010DDC-EF4B-43AF-8661-0DE03706571B}" srcOrd="0" destOrd="0" presId="urn:microsoft.com/office/officeart/2005/8/layout/vList3#3"/>
    <dgm:cxn modelId="{7200C6DD-1AFF-4A36-ADA7-7DCDA8D8A114}" type="presParOf" srcId="{1F9B520D-2CFA-48F5-9975-EB874DD6FF26}" destId="{594877A9-8A08-40E9-9FCB-37F24340B295}" srcOrd="1" destOrd="0" presId="urn:microsoft.com/office/officeart/2005/8/layout/vList3#3"/>
    <dgm:cxn modelId="{49F26EA7-F5E5-4E72-81DC-70F6862ABE88}" type="presParOf" srcId="{33AC8322-AEC8-46B4-9E61-12DF1557F4F1}" destId="{7144D58A-E1AF-4C65-8040-A807F58083C8}" srcOrd="7" destOrd="0" presId="urn:microsoft.com/office/officeart/2005/8/layout/vList3#3"/>
    <dgm:cxn modelId="{8DEF5992-F910-44F3-ADB3-78A53E4EBB15}" type="presParOf" srcId="{33AC8322-AEC8-46B4-9E61-12DF1557F4F1}" destId="{8999EFA6-D691-4184-9979-6B8D98633755}" srcOrd="8" destOrd="0" presId="urn:microsoft.com/office/officeart/2005/8/layout/vList3#3"/>
    <dgm:cxn modelId="{DF66088E-4369-4B9D-A770-4F791223340D}" type="presParOf" srcId="{8999EFA6-D691-4184-9979-6B8D98633755}" destId="{C65667AB-79B9-4237-9263-C5DCD799A16C}" srcOrd="0" destOrd="0" presId="urn:microsoft.com/office/officeart/2005/8/layout/vList3#3"/>
    <dgm:cxn modelId="{D699D7FA-C4DD-4AAB-B33B-B7916BEA30EA}" type="presParOf" srcId="{8999EFA6-D691-4184-9979-6B8D98633755}" destId="{D1769513-1D7B-4A29-A35E-728C9428A191}" srcOrd="1" destOrd="0" presId="urn:microsoft.com/office/officeart/2005/8/layout/vList3#3"/>
    <dgm:cxn modelId="{3462DDDB-FEB6-4F06-822F-3251E11D1046}" type="presParOf" srcId="{33AC8322-AEC8-46B4-9E61-12DF1557F4F1}" destId="{12EFDDE0-96E2-4202-859F-E3BEBF11D7A5}" srcOrd="9" destOrd="0" presId="urn:microsoft.com/office/officeart/2005/8/layout/vList3#3"/>
    <dgm:cxn modelId="{DE4BA95E-99CB-491D-B58D-70E376DB49F1}" type="presParOf" srcId="{33AC8322-AEC8-46B4-9E61-12DF1557F4F1}" destId="{3986B42E-12FF-4BD9-ADA6-73FE3C49B3DE}" srcOrd="10" destOrd="0" presId="urn:microsoft.com/office/officeart/2005/8/layout/vList3#3"/>
    <dgm:cxn modelId="{73508235-13DE-4DAF-8F09-430206446F16}" type="presParOf" srcId="{3986B42E-12FF-4BD9-ADA6-73FE3C49B3DE}" destId="{2B6021C6-7717-432D-86DC-3024FDFA8E68}" srcOrd="0" destOrd="0" presId="urn:microsoft.com/office/officeart/2005/8/layout/vList3#3"/>
    <dgm:cxn modelId="{FB6F52BF-6CDA-4024-85C5-EBAA07409068}" type="presParOf" srcId="{3986B42E-12FF-4BD9-ADA6-73FE3C49B3DE}" destId="{E9B61F9F-231F-4C68-8A5B-E081EECA0ED2}" srcOrd="1" destOrd="0" presId="urn:microsoft.com/office/officeart/2005/8/layout/vList3#3"/>
  </dgm:cxnLst>
  <dgm:bg>
    <a:noFill/>
  </dgm:bg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F6F251FE-E3B1-41D0-9AD4-59597E0F13C9}" type="doc">
      <dgm:prSet loTypeId="urn:microsoft.com/office/officeart/2005/8/layout/vList3#4" loCatId="list" qsTypeId="urn:microsoft.com/office/officeart/2005/8/quickstyle/simple1" qsCatId="simple" csTypeId="urn:microsoft.com/office/officeart/2005/8/colors/accent5_1" csCatId="accent5" phldr="1"/>
      <dgm:spPr/>
    </dgm:pt>
    <dgm:pt modelId="{A4CAAC57-2948-4A8B-9A3E-143CB870F120}">
      <dgm:prSet custT="1"/>
      <dgm:spPr/>
      <dgm:t>
        <a:bodyPr/>
        <a:lstStyle/>
        <a:p>
          <a:pPr algn="just"/>
          <a:r>
            <a:rPr lang="es-MX" sz="2000" u="none" smtClean="0">
              <a:latin typeface="+mn-lt"/>
              <a:ea typeface="Verdana" pitchFamily="34" charset="0"/>
              <a:cs typeface="Verdana" pitchFamily="34" charset="0"/>
            </a:rPr>
            <a:t>Permanencia</a:t>
          </a:r>
          <a:endParaRPr lang="es-MX" sz="2000" u="none" dirty="0">
            <a:latin typeface="+mn-lt"/>
            <a:ea typeface="Verdana" pitchFamily="34" charset="0"/>
            <a:cs typeface="Verdana" pitchFamily="34" charset="0"/>
          </a:endParaRPr>
        </a:p>
      </dgm:t>
    </dgm:pt>
    <dgm:pt modelId="{E3CEC7B2-E15E-4AD3-AF6B-8F248E3F0C5D}" type="parTrans" cxnId="{18BA46DA-54DB-4D6C-8B32-035558003E29}">
      <dgm:prSet/>
      <dgm:spPr/>
      <dgm:t>
        <a:bodyPr/>
        <a:lstStyle/>
        <a:p>
          <a:endParaRPr lang="es-CO" sz="1600"/>
        </a:p>
      </dgm:t>
    </dgm:pt>
    <dgm:pt modelId="{6CBC7A9F-A821-4A88-8770-3F2F2027B4DA}" type="sibTrans" cxnId="{18BA46DA-54DB-4D6C-8B32-035558003E29}">
      <dgm:prSet/>
      <dgm:spPr/>
      <dgm:t>
        <a:bodyPr/>
        <a:lstStyle/>
        <a:p>
          <a:endParaRPr lang="es-CO" sz="1600"/>
        </a:p>
      </dgm:t>
    </dgm:pt>
    <dgm:pt modelId="{B7DA0DE8-B0F5-489A-B5F3-6506F16D6BB3}">
      <dgm:prSet custT="1"/>
      <dgm:spPr/>
      <dgm:t>
        <a:bodyPr/>
        <a:lstStyle/>
        <a:p>
          <a:pPr algn="just"/>
          <a:r>
            <a:rPr lang="es-MX" sz="2000" u="none" smtClean="0">
              <a:latin typeface="+mn-lt"/>
              <a:ea typeface="Verdana" pitchFamily="34" charset="0"/>
              <a:cs typeface="Verdana" pitchFamily="34" charset="0"/>
            </a:rPr>
            <a:t>Apoyo a los estudiantes</a:t>
          </a:r>
          <a:endParaRPr lang="es-MX" sz="2000" u="none" dirty="0">
            <a:latin typeface="+mn-lt"/>
            <a:ea typeface="Verdana" pitchFamily="34" charset="0"/>
            <a:cs typeface="Verdana" pitchFamily="34" charset="0"/>
          </a:endParaRPr>
        </a:p>
      </dgm:t>
    </dgm:pt>
    <dgm:pt modelId="{E61CC22C-6D70-4D8A-A1AC-2F5624DEED98}" type="parTrans" cxnId="{D56BCA9D-0AF1-41D2-8AB4-0B4E0D5BB4C2}">
      <dgm:prSet/>
      <dgm:spPr/>
      <dgm:t>
        <a:bodyPr/>
        <a:lstStyle/>
        <a:p>
          <a:endParaRPr lang="es-CO" sz="1600"/>
        </a:p>
      </dgm:t>
    </dgm:pt>
    <dgm:pt modelId="{42AAFE18-2731-4DCC-A4D2-30DA6669292C}" type="sibTrans" cxnId="{D56BCA9D-0AF1-41D2-8AB4-0B4E0D5BB4C2}">
      <dgm:prSet/>
      <dgm:spPr/>
      <dgm:t>
        <a:bodyPr/>
        <a:lstStyle/>
        <a:p>
          <a:endParaRPr lang="es-CO" sz="1600"/>
        </a:p>
      </dgm:t>
    </dgm:pt>
    <dgm:pt modelId="{8638BDF1-7503-4C4D-9C49-1D20DEA0BB1B}">
      <dgm:prSet custT="1"/>
      <dgm:spPr/>
      <dgm:t>
        <a:bodyPr/>
        <a:lstStyle/>
        <a:p>
          <a:pPr algn="just"/>
          <a:r>
            <a:rPr lang="es-MX" sz="2000" u="none" smtClean="0">
              <a:latin typeface="+mn-lt"/>
              <a:ea typeface="Verdana" pitchFamily="34" charset="0"/>
              <a:cs typeface="Verdana" pitchFamily="34" charset="0"/>
            </a:rPr>
            <a:t>Acceso sector productivo</a:t>
          </a:r>
          <a:endParaRPr lang="es-MX" sz="2000" u="none" dirty="0">
            <a:latin typeface="+mn-lt"/>
            <a:ea typeface="Verdana" pitchFamily="34" charset="0"/>
            <a:cs typeface="Verdana" pitchFamily="34" charset="0"/>
          </a:endParaRPr>
        </a:p>
      </dgm:t>
    </dgm:pt>
    <dgm:pt modelId="{3877488F-18A1-4DF6-B093-E4F2A959A4AC}" type="parTrans" cxnId="{993C94AB-6296-426A-98CC-2901416D6C14}">
      <dgm:prSet/>
      <dgm:spPr/>
      <dgm:t>
        <a:bodyPr/>
        <a:lstStyle/>
        <a:p>
          <a:endParaRPr lang="es-CO" sz="1600"/>
        </a:p>
      </dgm:t>
    </dgm:pt>
    <dgm:pt modelId="{8EFD8100-D13C-4C5D-8966-325884ECB460}" type="sibTrans" cxnId="{993C94AB-6296-426A-98CC-2901416D6C14}">
      <dgm:prSet/>
      <dgm:spPr/>
      <dgm:t>
        <a:bodyPr/>
        <a:lstStyle/>
        <a:p>
          <a:endParaRPr lang="es-CO" sz="1600"/>
        </a:p>
      </dgm:t>
    </dgm:pt>
    <dgm:pt modelId="{7F91385E-E776-4514-8ADE-C527EC5F5390}">
      <dgm:prSet custT="1"/>
      <dgm:spPr/>
      <dgm:t>
        <a:bodyPr/>
        <a:lstStyle/>
        <a:p>
          <a:pPr algn="just"/>
          <a:r>
            <a:rPr lang="es-MX" sz="2000" u="none" smtClean="0">
              <a:latin typeface="+mn-lt"/>
              <a:ea typeface="Verdana" pitchFamily="34" charset="0"/>
              <a:cs typeface="Verdana" pitchFamily="34" charset="0"/>
            </a:rPr>
            <a:t>Divulgación de la oferta</a:t>
          </a:r>
          <a:endParaRPr lang="es-MX" sz="2000" u="none" dirty="0">
            <a:latin typeface="+mn-lt"/>
            <a:ea typeface="Verdana" pitchFamily="34" charset="0"/>
            <a:cs typeface="Verdana" pitchFamily="34" charset="0"/>
          </a:endParaRPr>
        </a:p>
      </dgm:t>
    </dgm:pt>
    <dgm:pt modelId="{E7350911-7A9A-4D41-A299-77D4F91F383C}" type="parTrans" cxnId="{08B26BCD-324A-4ABA-94C6-43217B9F94D0}">
      <dgm:prSet/>
      <dgm:spPr/>
      <dgm:t>
        <a:bodyPr/>
        <a:lstStyle/>
        <a:p>
          <a:endParaRPr lang="es-CO" sz="1600"/>
        </a:p>
      </dgm:t>
    </dgm:pt>
    <dgm:pt modelId="{62D8C9FA-AF3F-4C27-BB0A-E042E815A947}" type="sibTrans" cxnId="{08B26BCD-324A-4ABA-94C6-43217B9F94D0}">
      <dgm:prSet/>
      <dgm:spPr/>
      <dgm:t>
        <a:bodyPr/>
        <a:lstStyle/>
        <a:p>
          <a:endParaRPr lang="es-CO" sz="1600"/>
        </a:p>
      </dgm:t>
    </dgm:pt>
    <dgm:pt modelId="{8AFBA346-F076-49DF-8A94-E9E04D59A28E}">
      <dgm:prSet custT="1"/>
      <dgm:spPr/>
      <dgm:t>
        <a:bodyPr/>
        <a:lstStyle/>
        <a:p>
          <a:pPr algn="just"/>
          <a:r>
            <a:rPr lang="es-MX" sz="2000" u="none" smtClean="0">
              <a:latin typeface="+mn-lt"/>
              <a:ea typeface="Verdana" pitchFamily="34" charset="0"/>
              <a:cs typeface="Verdana" pitchFamily="34" charset="0"/>
            </a:rPr>
            <a:t>Articulación educativa</a:t>
          </a:r>
          <a:endParaRPr lang="es-MX" sz="2000" u="none" dirty="0">
            <a:latin typeface="+mn-lt"/>
            <a:ea typeface="Verdana" pitchFamily="34" charset="0"/>
            <a:cs typeface="Verdana" pitchFamily="34" charset="0"/>
          </a:endParaRPr>
        </a:p>
      </dgm:t>
    </dgm:pt>
    <dgm:pt modelId="{A6342655-4FDE-4DE2-AB71-DD7BFEEB5D83}" type="parTrans" cxnId="{77EBC404-0F12-4B6E-AB57-72AD99BABF32}">
      <dgm:prSet/>
      <dgm:spPr/>
      <dgm:t>
        <a:bodyPr/>
        <a:lstStyle/>
        <a:p>
          <a:endParaRPr lang="es-CO" sz="1600"/>
        </a:p>
      </dgm:t>
    </dgm:pt>
    <dgm:pt modelId="{DD1056A1-F291-404A-9635-D744F2568873}" type="sibTrans" cxnId="{77EBC404-0F12-4B6E-AB57-72AD99BABF32}">
      <dgm:prSet/>
      <dgm:spPr/>
      <dgm:t>
        <a:bodyPr/>
        <a:lstStyle/>
        <a:p>
          <a:endParaRPr lang="es-CO" sz="1600"/>
        </a:p>
      </dgm:t>
    </dgm:pt>
    <dgm:pt modelId="{33AC8322-AEC8-46B4-9E61-12DF1557F4F1}" type="pres">
      <dgm:prSet presAssocID="{F6F251FE-E3B1-41D0-9AD4-59597E0F13C9}" presName="linearFlow" presStyleCnt="0">
        <dgm:presLayoutVars>
          <dgm:dir/>
          <dgm:resizeHandles val="exact"/>
        </dgm:presLayoutVars>
      </dgm:prSet>
      <dgm:spPr/>
    </dgm:pt>
    <dgm:pt modelId="{65FC4E71-C6FC-415D-AE48-2E7BB660DED7}" type="pres">
      <dgm:prSet presAssocID="{A4CAAC57-2948-4A8B-9A3E-143CB870F120}" presName="composite" presStyleCnt="0"/>
      <dgm:spPr/>
    </dgm:pt>
    <dgm:pt modelId="{D6AB906A-08BF-444F-AD94-8F4F589D9748}" type="pres">
      <dgm:prSet presAssocID="{A4CAAC57-2948-4A8B-9A3E-143CB870F120}" presName="imgShp" presStyleLbl="fgImgPlace1" presStyleIdx="0" presStyleCnt="5"/>
      <dgm:spPr/>
    </dgm:pt>
    <dgm:pt modelId="{1FDFC23A-E9FA-4EFC-95DC-F052523EAEAB}" type="pres">
      <dgm:prSet presAssocID="{A4CAAC57-2948-4A8B-9A3E-143CB870F120}" presName="txShp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E85D9726-8C81-4FED-B35A-3542414A16AF}" type="pres">
      <dgm:prSet presAssocID="{6CBC7A9F-A821-4A88-8770-3F2F2027B4DA}" presName="spacing" presStyleCnt="0"/>
      <dgm:spPr/>
    </dgm:pt>
    <dgm:pt modelId="{44484ADB-A5BB-4EA3-8D4D-0F530366E32D}" type="pres">
      <dgm:prSet presAssocID="{B7DA0DE8-B0F5-489A-B5F3-6506F16D6BB3}" presName="composite" presStyleCnt="0"/>
      <dgm:spPr/>
    </dgm:pt>
    <dgm:pt modelId="{4B922227-45CE-4E2F-B288-CE179C39C995}" type="pres">
      <dgm:prSet presAssocID="{B7DA0DE8-B0F5-489A-B5F3-6506F16D6BB3}" presName="imgShp" presStyleLbl="fgImgPlace1" presStyleIdx="1" presStyleCnt="5"/>
      <dgm:spPr/>
    </dgm:pt>
    <dgm:pt modelId="{BA81C47D-A3FB-4A37-9F8B-75D10D6E8A00}" type="pres">
      <dgm:prSet presAssocID="{B7DA0DE8-B0F5-489A-B5F3-6506F16D6BB3}" presName="txShp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16926B26-96CC-440C-95B9-26348BB86E54}" type="pres">
      <dgm:prSet presAssocID="{42AAFE18-2731-4DCC-A4D2-30DA6669292C}" presName="spacing" presStyleCnt="0"/>
      <dgm:spPr/>
    </dgm:pt>
    <dgm:pt modelId="{8BBA52C9-1F2F-4FA1-B124-AB2DE3478384}" type="pres">
      <dgm:prSet presAssocID="{8638BDF1-7503-4C4D-9C49-1D20DEA0BB1B}" presName="composite" presStyleCnt="0"/>
      <dgm:spPr/>
    </dgm:pt>
    <dgm:pt modelId="{3F7AA024-1F19-4421-9CF0-A820B84FFCBF}" type="pres">
      <dgm:prSet presAssocID="{8638BDF1-7503-4C4D-9C49-1D20DEA0BB1B}" presName="imgShp" presStyleLbl="fgImgPlace1" presStyleIdx="2" presStyleCnt="5"/>
      <dgm:spPr/>
    </dgm:pt>
    <dgm:pt modelId="{415F9641-0CCC-44A1-A251-AC2E59AC5AD1}" type="pres">
      <dgm:prSet presAssocID="{8638BDF1-7503-4C4D-9C49-1D20DEA0BB1B}" presName="txShp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E71FB116-F1C8-45E6-A512-9BF90567F51D}" type="pres">
      <dgm:prSet presAssocID="{8EFD8100-D13C-4C5D-8966-325884ECB460}" presName="spacing" presStyleCnt="0"/>
      <dgm:spPr/>
    </dgm:pt>
    <dgm:pt modelId="{E603B523-0895-4F46-AA5E-C571E55357A1}" type="pres">
      <dgm:prSet presAssocID="{8AFBA346-F076-49DF-8A94-E9E04D59A28E}" presName="composite" presStyleCnt="0"/>
      <dgm:spPr/>
    </dgm:pt>
    <dgm:pt modelId="{BA7EA86A-870E-48D7-9790-E8125ECB2E09}" type="pres">
      <dgm:prSet presAssocID="{8AFBA346-F076-49DF-8A94-E9E04D59A28E}" presName="imgShp" presStyleLbl="fgImgPlace1" presStyleIdx="3" presStyleCnt="5"/>
      <dgm:spPr/>
    </dgm:pt>
    <dgm:pt modelId="{F396FCAF-D882-47BB-B229-C8C8749A112D}" type="pres">
      <dgm:prSet presAssocID="{8AFBA346-F076-49DF-8A94-E9E04D59A28E}" presName="txShp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26785992-A178-46BB-9BD0-E28386018F19}" type="pres">
      <dgm:prSet presAssocID="{DD1056A1-F291-404A-9635-D744F2568873}" presName="spacing" presStyleCnt="0"/>
      <dgm:spPr/>
    </dgm:pt>
    <dgm:pt modelId="{F0608597-5960-4854-B976-49EBC13EA56D}" type="pres">
      <dgm:prSet presAssocID="{7F91385E-E776-4514-8ADE-C527EC5F5390}" presName="composite" presStyleCnt="0"/>
      <dgm:spPr/>
    </dgm:pt>
    <dgm:pt modelId="{84FEFB6A-981F-4DA3-9096-A5A1C6AD2A85}" type="pres">
      <dgm:prSet presAssocID="{7F91385E-E776-4514-8ADE-C527EC5F5390}" presName="imgShp" presStyleLbl="fgImgPlace1" presStyleIdx="4" presStyleCnt="5"/>
      <dgm:spPr/>
    </dgm:pt>
    <dgm:pt modelId="{02611F49-B841-4787-8EDC-56CB38E0980C}" type="pres">
      <dgm:prSet presAssocID="{7F91385E-E776-4514-8ADE-C527EC5F5390}" presName="txShp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D56BCA9D-0AF1-41D2-8AB4-0B4E0D5BB4C2}" srcId="{F6F251FE-E3B1-41D0-9AD4-59597E0F13C9}" destId="{B7DA0DE8-B0F5-489A-B5F3-6506F16D6BB3}" srcOrd="1" destOrd="0" parTransId="{E61CC22C-6D70-4D8A-A1AC-2F5624DEED98}" sibTransId="{42AAFE18-2731-4DCC-A4D2-30DA6669292C}"/>
    <dgm:cxn modelId="{993C94AB-6296-426A-98CC-2901416D6C14}" srcId="{F6F251FE-E3B1-41D0-9AD4-59597E0F13C9}" destId="{8638BDF1-7503-4C4D-9C49-1D20DEA0BB1B}" srcOrd="2" destOrd="0" parTransId="{3877488F-18A1-4DF6-B093-E4F2A959A4AC}" sibTransId="{8EFD8100-D13C-4C5D-8966-325884ECB460}"/>
    <dgm:cxn modelId="{08B26BCD-324A-4ABA-94C6-43217B9F94D0}" srcId="{F6F251FE-E3B1-41D0-9AD4-59597E0F13C9}" destId="{7F91385E-E776-4514-8ADE-C527EC5F5390}" srcOrd="4" destOrd="0" parTransId="{E7350911-7A9A-4D41-A299-77D4F91F383C}" sibTransId="{62D8C9FA-AF3F-4C27-BB0A-E042E815A947}"/>
    <dgm:cxn modelId="{6BAA896A-4801-4271-AF19-7B8985D3A2FF}" type="presOf" srcId="{8AFBA346-F076-49DF-8A94-E9E04D59A28E}" destId="{F396FCAF-D882-47BB-B229-C8C8749A112D}" srcOrd="0" destOrd="0" presId="urn:microsoft.com/office/officeart/2005/8/layout/vList3#4"/>
    <dgm:cxn modelId="{18BA46DA-54DB-4D6C-8B32-035558003E29}" srcId="{F6F251FE-E3B1-41D0-9AD4-59597E0F13C9}" destId="{A4CAAC57-2948-4A8B-9A3E-143CB870F120}" srcOrd="0" destOrd="0" parTransId="{E3CEC7B2-E15E-4AD3-AF6B-8F248E3F0C5D}" sibTransId="{6CBC7A9F-A821-4A88-8770-3F2F2027B4DA}"/>
    <dgm:cxn modelId="{77EBC404-0F12-4B6E-AB57-72AD99BABF32}" srcId="{F6F251FE-E3B1-41D0-9AD4-59597E0F13C9}" destId="{8AFBA346-F076-49DF-8A94-E9E04D59A28E}" srcOrd="3" destOrd="0" parTransId="{A6342655-4FDE-4DE2-AB71-DD7BFEEB5D83}" sibTransId="{DD1056A1-F291-404A-9635-D744F2568873}"/>
    <dgm:cxn modelId="{E71BB3CB-8FAE-49B9-B79B-12376CAB83BB}" type="presOf" srcId="{8638BDF1-7503-4C4D-9C49-1D20DEA0BB1B}" destId="{415F9641-0CCC-44A1-A251-AC2E59AC5AD1}" srcOrd="0" destOrd="0" presId="urn:microsoft.com/office/officeart/2005/8/layout/vList3#4"/>
    <dgm:cxn modelId="{0C50299E-6217-4D83-BEE1-BA8BB46A9418}" type="presOf" srcId="{F6F251FE-E3B1-41D0-9AD4-59597E0F13C9}" destId="{33AC8322-AEC8-46B4-9E61-12DF1557F4F1}" srcOrd="0" destOrd="0" presId="urn:microsoft.com/office/officeart/2005/8/layout/vList3#4"/>
    <dgm:cxn modelId="{E68F644A-3327-4325-AC76-C06065C64EFB}" type="presOf" srcId="{B7DA0DE8-B0F5-489A-B5F3-6506F16D6BB3}" destId="{BA81C47D-A3FB-4A37-9F8B-75D10D6E8A00}" srcOrd="0" destOrd="0" presId="urn:microsoft.com/office/officeart/2005/8/layout/vList3#4"/>
    <dgm:cxn modelId="{9A95A48C-CA57-4E2F-8CAB-11C2A2640750}" type="presOf" srcId="{7F91385E-E776-4514-8ADE-C527EC5F5390}" destId="{02611F49-B841-4787-8EDC-56CB38E0980C}" srcOrd="0" destOrd="0" presId="urn:microsoft.com/office/officeart/2005/8/layout/vList3#4"/>
    <dgm:cxn modelId="{71341764-541B-4681-B031-6CADB37A2532}" type="presOf" srcId="{A4CAAC57-2948-4A8B-9A3E-143CB870F120}" destId="{1FDFC23A-E9FA-4EFC-95DC-F052523EAEAB}" srcOrd="0" destOrd="0" presId="urn:microsoft.com/office/officeart/2005/8/layout/vList3#4"/>
    <dgm:cxn modelId="{987AA20F-7DA5-4AD1-B75C-92A795E60CC3}" type="presParOf" srcId="{33AC8322-AEC8-46B4-9E61-12DF1557F4F1}" destId="{65FC4E71-C6FC-415D-AE48-2E7BB660DED7}" srcOrd="0" destOrd="0" presId="urn:microsoft.com/office/officeart/2005/8/layout/vList3#4"/>
    <dgm:cxn modelId="{566E9343-5F27-47CC-A39D-9F0946090667}" type="presParOf" srcId="{65FC4E71-C6FC-415D-AE48-2E7BB660DED7}" destId="{D6AB906A-08BF-444F-AD94-8F4F589D9748}" srcOrd="0" destOrd="0" presId="urn:microsoft.com/office/officeart/2005/8/layout/vList3#4"/>
    <dgm:cxn modelId="{0136F23A-9E71-4AB9-8EBA-09C229E154F6}" type="presParOf" srcId="{65FC4E71-C6FC-415D-AE48-2E7BB660DED7}" destId="{1FDFC23A-E9FA-4EFC-95DC-F052523EAEAB}" srcOrd="1" destOrd="0" presId="urn:microsoft.com/office/officeart/2005/8/layout/vList3#4"/>
    <dgm:cxn modelId="{430EEEC9-B46B-4BD4-A140-05695C3EB74F}" type="presParOf" srcId="{33AC8322-AEC8-46B4-9E61-12DF1557F4F1}" destId="{E85D9726-8C81-4FED-B35A-3542414A16AF}" srcOrd="1" destOrd="0" presId="urn:microsoft.com/office/officeart/2005/8/layout/vList3#4"/>
    <dgm:cxn modelId="{18BE9AE7-FB66-4238-BDE8-3008D4BFE553}" type="presParOf" srcId="{33AC8322-AEC8-46B4-9E61-12DF1557F4F1}" destId="{44484ADB-A5BB-4EA3-8D4D-0F530366E32D}" srcOrd="2" destOrd="0" presId="urn:microsoft.com/office/officeart/2005/8/layout/vList3#4"/>
    <dgm:cxn modelId="{30B9AE2D-442D-4D86-93CC-2F5A75AA2644}" type="presParOf" srcId="{44484ADB-A5BB-4EA3-8D4D-0F530366E32D}" destId="{4B922227-45CE-4E2F-B288-CE179C39C995}" srcOrd="0" destOrd="0" presId="urn:microsoft.com/office/officeart/2005/8/layout/vList3#4"/>
    <dgm:cxn modelId="{53D0D050-83D9-4A05-86B1-F43DA90049D7}" type="presParOf" srcId="{44484ADB-A5BB-4EA3-8D4D-0F530366E32D}" destId="{BA81C47D-A3FB-4A37-9F8B-75D10D6E8A00}" srcOrd="1" destOrd="0" presId="urn:microsoft.com/office/officeart/2005/8/layout/vList3#4"/>
    <dgm:cxn modelId="{4C06B652-501F-4D4E-8944-0A525EEB7B14}" type="presParOf" srcId="{33AC8322-AEC8-46B4-9E61-12DF1557F4F1}" destId="{16926B26-96CC-440C-95B9-26348BB86E54}" srcOrd="3" destOrd="0" presId="urn:microsoft.com/office/officeart/2005/8/layout/vList3#4"/>
    <dgm:cxn modelId="{9D1FA426-D4BE-4917-A8F9-E5C7F6F28121}" type="presParOf" srcId="{33AC8322-AEC8-46B4-9E61-12DF1557F4F1}" destId="{8BBA52C9-1F2F-4FA1-B124-AB2DE3478384}" srcOrd="4" destOrd="0" presId="urn:microsoft.com/office/officeart/2005/8/layout/vList3#4"/>
    <dgm:cxn modelId="{B08DE4C8-5C63-4C04-8A35-76E9B57D6E5D}" type="presParOf" srcId="{8BBA52C9-1F2F-4FA1-B124-AB2DE3478384}" destId="{3F7AA024-1F19-4421-9CF0-A820B84FFCBF}" srcOrd="0" destOrd="0" presId="urn:microsoft.com/office/officeart/2005/8/layout/vList3#4"/>
    <dgm:cxn modelId="{5DCED88A-67D4-400B-9194-ACC48A7C6D7C}" type="presParOf" srcId="{8BBA52C9-1F2F-4FA1-B124-AB2DE3478384}" destId="{415F9641-0CCC-44A1-A251-AC2E59AC5AD1}" srcOrd="1" destOrd="0" presId="urn:microsoft.com/office/officeart/2005/8/layout/vList3#4"/>
    <dgm:cxn modelId="{1D639FC4-6B7D-48AD-A5EB-A8317B32A3C7}" type="presParOf" srcId="{33AC8322-AEC8-46B4-9E61-12DF1557F4F1}" destId="{E71FB116-F1C8-45E6-A512-9BF90567F51D}" srcOrd="5" destOrd="0" presId="urn:microsoft.com/office/officeart/2005/8/layout/vList3#4"/>
    <dgm:cxn modelId="{005DDABB-906A-45D5-9318-8C1F48D1A542}" type="presParOf" srcId="{33AC8322-AEC8-46B4-9E61-12DF1557F4F1}" destId="{E603B523-0895-4F46-AA5E-C571E55357A1}" srcOrd="6" destOrd="0" presId="urn:microsoft.com/office/officeart/2005/8/layout/vList3#4"/>
    <dgm:cxn modelId="{ED729E59-6BD5-43F4-89F2-7853000732AA}" type="presParOf" srcId="{E603B523-0895-4F46-AA5E-C571E55357A1}" destId="{BA7EA86A-870E-48D7-9790-E8125ECB2E09}" srcOrd="0" destOrd="0" presId="urn:microsoft.com/office/officeart/2005/8/layout/vList3#4"/>
    <dgm:cxn modelId="{1B124F8D-4057-4208-9828-77E5428432D3}" type="presParOf" srcId="{E603B523-0895-4F46-AA5E-C571E55357A1}" destId="{F396FCAF-D882-47BB-B229-C8C8749A112D}" srcOrd="1" destOrd="0" presId="urn:microsoft.com/office/officeart/2005/8/layout/vList3#4"/>
    <dgm:cxn modelId="{FB07CA7E-2A93-45A2-8D14-EA09D725E788}" type="presParOf" srcId="{33AC8322-AEC8-46B4-9E61-12DF1557F4F1}" destId="{26785992-A178-46BB-9BD0-E28386018F19}" srcOrd="7" destOrd="0" presId="urn:microsoft.com/office/officeart/2005/8/layout/vList3#4"/>
    <dgm:cxn modelId="{0BE6D470-07E0-4D87-88D2-81867E5B2F21}" type="presParOf" srcId="{33AC8322-AEC8-46B4-9E61-12DF1557F4F1}" destId="{F0608597-5960-4854-B976-49EBC13EA56D}" srcOrd="8" destOrd="0" presId="urn:microsoft.com/office/officeart/2005/8/layout/vList3#4"/>
    <dgm:cxn modelId="{62A78954-E918-462B-B5EE-CE483FF562C0}" type="presParOf" srcId="{F0608597-5960-4854-B976-49EBC13EA56D}" destId="{84FEFB6A-981F-4DA3-9096-A5A1C6AD2A85}" srcOrd="0" destOrd="0" presId="urn:microsoft.com/office/officeart/2005/8/layout/vList3#4"/>
    <dgm:cxn modelId="{95CF163C-02B1-4FF0-8188-239687279426}" type="presParOf" srcId="{F0608597-5960-4854-B976-49EBC13EA56D}" destId="{02611F49-B841-4787-8EDC-56CB38E0980C}" srcOrd="1" destOrd="0" presId="urn:microsoft.com/office/officeart/2005/8/layout/vList3#4"/>
  </dgm:cxnLst>
  <dgm:bg>
    <a:noFill/>
  </dgm:bg>
  <dgm:whole/>
  <dgm:extLst>
    <a:ext uri="http://schemas.microsoft.com/office/drawing/2008/diagram">
      <dsp:dataModelExt xmlns:dsp="http://schemas.microsoft.com/office/drawing/2008/diagram" xmlns="" relId="rId11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472B9A19-6750-4C3A-9414-58029D9F2C31}" type="doc">
      <dgm:prSet loTypeId="urn:microsoft.com/office/officeart/2005/8/layout/radial3" loCatId="relationship" qsTypeId="urn:microsoft.com/office/officeart/2005/8/quickstyle/3d1" qsCatId="3D" csTypeId="urn:microsoft.com/office/officeart/2005/8/colors/colorful1#1" csCatId="colorful" phldr="1"/>
      <dgm:spPr/>
      <dgm:t>
        <a:bodyPr/>
        <a:lstStyle/>
        <a:p>
          <a:endParaRPr lang="es-CO"/>
        </a:p>
      </dgm:t>
    </dgm:pt>
    <dgm:pt modelId="{FD139535-1897-41F7-B8A4-300FEE37481B}">
      <dgm:prSet phldrT="[Texto]" custT="1"/>
      <dgm:spPr>
        <a:solidFill>
          <a:srgbClr val="E7D287">
            <a:alpha val="50000"/>
          </a:srgbClr>
        </a:solidFill>
      </dgm:spPr>
      <dgm:t>
        <a:bodyPr/>
        <a:lstStyle/>
        <a:p>
          <a:r>
            <a:rPr lang="es-CO" sz="1600" b="1" dirty="0" smtClean="0">
              <a:effectLst/>
              <a:latin typeface="Calibri" pitchFamily="34" charset="0"/>
              <a:ea typeface="ヒラギノ角ゴ Pro W3"/>
              <a:cs typeface="ヒラギノ角ゴ Pro W3"/>
            </a:rPr>
            <a:t>Cerrar Brechas con Enfoque Regional</a:t>
          </a:r>
          <a:endParaRPr lang="es-CO" sz="1600" b="1" dirty="0">
            <a:effectLst/>
          </a:endParaRPr>
        </a:p>
      </dgm:t>
    </dgm:pt>
    <dgm:pt modelId="{C4F6F5B3-FDB8-4118-85AF-61B49869CA0C}" type="parTrans" cxnId="{0E898815-75A9-49CD-8134-C9C828BC0045}">
      <dgm:prSet/>
      <dgm:spPr/>
      <dgm:t>
        <a:bodyPr/>
        <a:lstStyle/>
        <a:p>
          <a:endParaRPr lang="es-CO" b="1">
            <a:effectLst/>
          </a:endParaRPr>
        </a:p>
      </dgm:t>
    </dgm:pt>
    <dgm:pt modelId="{CD8D1476-9374-49A9-AD46-0A1D8E4F9766}" type="sibTrans" cxnId="{0E898815-75A9-49CD-8134-C9C828BC0045}">
      <dgm:prSet/>
      <dgm:spPr/>
      <dgm:t>
        <a:bodyPr/>
        <a:lstStyle/>
        <a:p>
          <a:endParaRPr lang="es-CO" b="1">
            <a:effectLst/>
          </a:endParaRPr>
        </a:p>
      </dgm:t>
    </dgm:pt>
    <dgm:pt modelId="{A4C1E240-3B13-4E49-8871-8CB4CCDC407A}">
      <dgm:prSet phldrT="[Texto]" custT="1"/>
      <dgm:spPr>
        <a:solidFill>
          <a:srgbClr val="FF9900">
            <a:alpha val="50000"/>
          </a:srgbClr>
        </a:solidFill>
      </dgm:spPr>
      <dgm:t>
        <a:bodyPr/>
        <a:lstStyle/>
        <a:p>
          <a:r>
            <a:rPr lang="es-CO" sz="1800" b="1" dirty="0" smtClean="0">
              <a:effectLst/>
              <a:latin typeface="Calibri" pitchFamily="34" charset="0"/>
              <a:ea typeface="ヒラギノ角ゴ Pro W3"/>
              <a:cs typeface="ヒラギノ角ゴ Pro W3"/>
            </a:rPr>
            <a:t>Innovación y Pertinencia</a:t>
          </a:r>
          <a:endParaRPr lang="es-CO" sz="1800" b="1" dirty="0">
            <a:effectLst/>
          </a:endParaRPr>
        </a:p>
      </dgm:t>
    </dgm:pt>
    <dgm:pt modelId="{BBD13BEA-2283-467E-BE4C-FD45136E6E50}" type="parTrans" cxnId="{4E95E031-1C23-4E87-B9BB-0CDE7A50069D}">
      <dgm:prSet/>
      <dgm:spPr/>
      <dgm:t>
        <a:bodyPr/>
        <a:lstStyle/>
        <a:p>
          <a:endParaRPr lang="es-CO" b="1">
            <a:effectLst/>
          </a:endParaRPr>
        </a:p>
      </dgm:t>
    </dgm:pt>
    <dgm:pt modelId="{B8FDC3AB-0556-48AF-A7B4-0F3B383BDFE3}" type="sibTrans" cxnId="{4E95E031-1C23-4E87-B9BB-0CDE7A50069D}">
      <dgm:prSet/>
      <dgm:spPr/>
      <dgm:t>
        <a:bodyPr/>
        <a:lstStyle/>
        <a:p>
          <a:endParaRPr lang="es-CO" b="1">
            <a:effectLst/>
          </a:endParaRPr>
        </a:p>
      </dgm:t>
    </dgm:pt>
    <dgm:pt modelId="{170AD2B5-013F-4D6C-8FE8-7F773A05EC6D}">
      <dgm:prSet phldrT="[Texto]" custT="1"/>
      <dgm:spPr>
        <a:solidFill>
          <a:schemeClr val="accent6">
            <a:lumMod val="50000"/>
            <a:alpha val="50000"/>
          </a:schemeClr>
        </a:solidFill>
      </dgm:spPr>
      <dgm:t>
        <a:bodyPr/>
        <a:lstStyle/>
        <a:p>
          <a:r>
            <a:rPr lang="es-CO" sz="1800" b="1" dirty="0" smtClean="0">
              <a:effectLst/>
              <a:latin typeface="Calibri" pitchFamily="34" charset="0"/>
              <a:ea typeface="ヒラギノ角ゴ Pro W3"/>
              <a:cs typeface="ヒラギノ角ゴ Pro W3"/>
            </a:rPr>
            <a:t>Modelo de Gestión</a:t>
          </a:r>
          <a:endParaRPr lang="es-CO" sz="1800" b="1" dirty="0">
            <a:effectLst/>
          </a:endParaRPr>
        </a:p>
      </dgm:t>
    </dgm:pt>
    <dgm:pt modelId="{72395E9A-D468-4279-AC87-76D2E027C9C5}" type="parTrans" cxnId="{35B64E7C-D9FB-45CE-BE84-D2F73F589362}">
      <dgm:prSet/>
      <dgm:spPr/>
      <dgm:t>
        <a:bodyPr/>
        <a:lstStyle/>
        <a:p>
          <a:endParaRPr lang="es-CO" b="1">
            <a:effectLst/>
          </a:endParaRPr>
        </a:p>
      </dgm:t>
    </dgm:pt>
    <dgm:pt modelId="{82AAA9E8-0A37-4A74-A058-43AFAC3052AE}" type="sibTrans" cxnId="{35B64E7C-D9FB-45CE-BE84-D2F73F589362}">
      <dgm:prSet/>
      <dgm:spPr/>
      <dgm:t>
        <a:bodyPr/>
        <a:lstStyle/>
        <a:p>
          <a:endParaRPr lang="es-CO" b="1">
            <a:effectLst/>
          </a:endParaRPr>
        </a:p>
      </dgm:t>
    </dgm:pt>
    <dgm:pt modelId="{900023B0-2443-48D0-B0A0-1C71E0F80F8E}">
      <dgm:prSet/>
      <dgm:spPr>
        <a:solidFill>
          <a:schemeClr val="accent2">
            <a:lumMod val="75000"/>
            <a:alpha val="50000"/>
          </a:schemeClr>
        </a:solidFill>
      </dgm:spPr>
      <dgm:t>
        <a:bodyPr/>
        <a:lstStyle/>
        <a:p>
          <a:r>
            <a:rPr lang="es-CO" b="1" dirty="0" smtClean="0">
              <a:effectLst/>
              <a:latin typeface="Calibri" pitchFamily="34" charset="0"/>
              <a:ea typeface="ヒラギノ角ゴ Pro W3"/>
              <a:cs typeface="ヒラギノ角ゴ Pro W3"/>
            </a:rPr>
            <a:t>CALIDAD</a:t>
          </a:r>
          <a:endParaRPr lang="es-CO" b="1" dirty="0">
            <a:effectLst/>
          </a:endParaRPr>
        </a:p>
      </dgm:t>
    </dgm:pt>
    <dgm:pt modelId="{CA0C751F-AB8F-44C6-8C0E-11B61F135DE9}" type="parTrans" cxnId="{19F49F11-E7A0-447C-BDDF-BF6C69779549}">
      <dgm:prSet/>
      <dgm:spPr/>
      <dgm:t>
        <a:bodyPr/>
        <a:lstStyle/>
        <a:p>
          <a:endParaRPr lang="es-CO" b="1">
            <a:effectLst/>
          </a:endParaRPr>
        </a:p>
      </dgm:t>
    </dgm:pt>
    <dgm:pt modelId="{7BA25CCB-97E6-432C-893F-7B628A53D2A5}" type="sibTrans" cxnId="{19F49F11-E7A0-447C-BDDF-BF6C69779549}">
      <dgm:prSet/>
      <dgm:spPr/>
      <dgm:t>
        <a:bodyPr/>
        <a:lstStyle/>
        <a:p>
          <a:endParaRPr lang="es-CO" b="1">
            <a:effectLst/>
          </a:endParaRPr>
        </a:p>
      </dgm:t>
    </dgm:pt>
    <dgm:pt modelId="{9296F4A9-10A1-4181-8B89-F680EA9A58BF}">
      <dgm:prSet/>
      <dgm:spPr/>
      <dgm:t>
        <a:bodyPr/>
        <a:lstStyle/>
        <a:p>
          <a:endParaRPr lang="es-CO"/>
        </a:p>
      </dgm:t>
    </dgm:pt>
    <dgm:pt modelId="{A7E9DC48-2E09-4774-879B-0172B591153B}" type="parTrans" cxnId="{71471B5B-207E-40BE-80F3-9C6AC8C0928A}">
      <dgm:prSet/>
      <dgm:spPr/>
      <dgm:t>
        <a:bodyPr/>
        <a:lstStyle/>
        <a:p>
          <a:endParaRPr lang="es-CO"/>
        </a:p>
      </dgm:t>
    </dgm:pt>
    <dgm:pt modelId="{56FC06E3-91C0-4ABC-8056-7ECE214BC366}" type="sibTrans" cxnId="{71471B5B-207E-40BE-80F3-9C6AC8C0928A}">
      <dgm:prSet/>
      <dgm:spPr/>
      <dgm:t>
        <a:bodyPr/>
        <a:lstStyle/>
        <a:p>
          <a:endParaRPr lang="es-CO"/>
        </a:p>
      </dgm:t>
    </dgm:pt>
    <dgm:pt modelId="{F53EBE28-AD8B-486F-9DE2-765B0A3FEF83}">
      <dgm:prSet/>
      <dgm:spPr/>
      <dgm:t>
        <a:bodyPr/>
        <a:lstStyle/>
        <a:p>
          <a:endParaRPr lang="es-CO"/>
        </a:p>
      </dgm:t>
    </dgm:pt>
    <dgm:pt modelId="{2DC599EB-E303-40FE-ABFF-610E40F3C672}" type="parTrans" cxnId="{AE3A156B-E379-4704-B133-15E04BDADCA8}">
      <dgm:prSet/>
      <dgm:spPr/>
      <dgm:t>
        <a:bodyPr/>
        <a:lstStyle/>
        <a:p>
          <a:endParaRPr lang="es-CO"/>
        </a:p>
      </dgm:t>
    </dgm:pt>
    <dgm:pt modelId="{3625000E-EE9B-4ADB-89FA-355EDC204F87}" type="sibTrans" cxnId="{AE3A156B-E379-4704-B133-15E04BDADCA8}">
      <dgm:prSet/>
      <dgm:spPr/>
      <dgm:t>
        <a:bodyPr/>
        <a:lstStyle/>
        <a:p>
          <a:endParaRPr lang="es-CO"/>
        </a:p>
      </dgm:t>
    </dgm:pt>
    <dgm:pt modelId="{42EBCC15-769D-4670-870B-88E10B758CFC}">
      <dgm:prSet/>
      <dgm:spPr/>
      <dgm:t>
        <a:bodyPr/>
        <a:lstStyle/>
        <a:p>
          <a:endParaRPr lang="es-CO"/>
        </a:p>
      </dgm:t>
    </dgm:pt>
    <dgm:pt modelId="{FFF0A425-F695-40E1-9193-CFAF98F4E4A3}" type="parTrans" cxnId="{2530A399-CA9E-47A2-BECC-9205A42870CF}">
      <dgm:prSet/>
      <dgm:spPr/>
      <dgm:t>
        <a:bodyPr/>
        <a:lstStyle/>
        <a:p>
          <a:endParaRPr lang="es-CO"/>
        </a:p>
      </dgm:t>
    </dgm:pt>
    <dgm:pt modelId="{6F50FF85-7E98-4718-8C6D-8D4033BB140B}" type="sibTrans" cxnId="{2530A399-CA9E-47A2-BECC-9205A42870CF}">
      <dgm:prSet/>
      <dgm:spPr/>
      <dgm:t>
        <a:bodyPr/>
        <a:lstStyle/>
        <a:p>
          <a:endParaRPr lang="es-CO"/>
        </a:p>
      </dgm:t>
    </dgm:pt>
    <dgm:pt modelId="{AE824915-EA91-4303-BFE2-6CA233802D80}">
      <dgm:prSet/>
      <dgm:spPr/>
      <dgm:t>
        <a:bodyPr/>
        <a:lstStyle/>
        <a:p>
          <a:endParaRPr lang="es-CO"/>
        </a:p>
      </dgm:t>
    </dgm:pt>
    <dgm:pt modelId="{D6F148DD-164D-452B-B159-B5B21BE923E3}" type="parTrans" cxnId="{0205BDEE-5B6A-416A-ACC7-1CC4FF6C01B0}">
      <dgm:prSet/>
      <dgm:spPr/>
      <dgm:t>
        <a:bodyPr/>
        <a:lstStyle/>
        <a:p>
          <a:endParaRPr lang="es-CO"/>
        </a:p>
      </dgm:t>
    </dgm:pt>
    <dgm:pt modelId="{12318597-5954-4A25-9FB4-AD5544B96172}" type="sibTrans" cxnId="{0205BDEE-5B6A-416A-ACC7-1CC4FF6C01B0}">
      <dgm:prSet/>
      <dgm:spPr/>
      <dgm:t>
        <a:bodyPr/>
        <a:lstStyle/>
        <a:p>
          <a:endParaRPr lang="es-CO"/>
        </a:p>
      </dgm:t>
    </dgm:pt>
    <dgm:pt modelId="{8B2F8BFA-75DB-4C11-8C41-A8BB6BD53A14}">
      <dgm:prSet/>
      <dgm:spPr/>
      <dgm:t>
        <a:bodyPr/>
        <a:lstStyle/>
        <a:p>
          <a:endParaRPr lang="es-CO"/>
        </a:p>
      </dgm:t>
    </dgm:pt>
    <dgm:pt modelId="{291256C0-7803-43DA-88B7-B9ABA2A8A0F5}" type="parTrans" cxnId="{B9DC0542-2B58-4519-93D7-1E0815A04252}">
      <dgm:prSet/>
      <dgm:spPr/>
      <dgm:t>
        <a:bodyPr/>
        <a:lstStyle/>
        <a:p>
          <a:endParaRPr lang="es-CO"/>
        </a:p>
      </dgm:t>
    </dgm:pt>
    <dgm:pt modelId="{828DC536-6A28-479F-9391-C7FAC03FC35F}" type="sibTrans" cxnId="{B9DC0542-2B58-4519-93D7-1E0815A04252}">
      <dgm:prSet/>
      <dgm:spPr/>
      <dgm:t>
        <a:bodyPr/>
        <a:lstStyle/>
        <a:p>
          <a:endParaRPr lang="es-CO"/>
        </a:p>
      </dgm:t>
    </dgm:pt>
    <dgm:pt modelId="{EE12151B-7CC4-49D1-8525-A327F12A7835}">
      <dgm:prSet/>
      <dgm:spPr/>
      <dgm:t>
        <a:bodyPr/>
        <a:lstStyle/>
        <a:p>
          <a:endParaRPr lang="es-CO"/>
        </a:p>
      </dgm:t>
    </dgm:pt>
    <dgm:pt modelId="{46575FCD-B947-45AD-806E-352E74C98E2D}" type="parTrans" cxnId="{59D460F8-30C6-478C-8C49-DAA8E96C674F}">
      <dgm:prSet/>
      <dgm:spPr/>
      <dgm:t>
        <a:bodyPr/>
        <a:lstStyle/>
        <a:p>
          <a:endParaRPr lang="es-CO"/>
        </a:p>
      </dgm:t>
    </dgm:pt>
    <dgm:pt modelId="{7AEDAA3B-2667-4C46-8535-3CB2736214E4}" type="sibTrans" cxnId="{59D460F8-30C6-478C-8C49-DAA8E96C674F}">
      <dgm:prSet/>
      <dgm:spPr/>
      <dgm:t>
        <a:bodyPr/>
        <a:lstStyle/>
        <a:p>
          <a:endParaRPr lang="es-CO"/>
        </a:p>
      </dgm:t>
    </dgm:pt>
    <dgm:pt modelId="{26EDB95B-78CA-480D-ACCB-B77868E3885D}">
      <dgm:prSet/>
      <dgm:spPr/>
      <dgm:t>
        <a:bodyPr/>
        <a:lstStyle/>
        <a:p>
          <a:endParaRPr lang="es-CO"/>
        </a:p>
      </dgm:t>
    </dgm:pt>
    <dgm:pt modelId="{D5CCDF51-5AF3-44C3-B5DB-F5AAAB1B7F67}" type="parTrans" cxnId="{71F188D0-1359-4288-AC28-4E82E9B731D8}">
      <dgm:prSet/>
      <dgm:spPr/>
      <dgm:t>
        <a:bodyPr/>
        <a:lstStyle/>
        <a:p>
          <a:endParaRPr lang="es-CO"/>
        </a:p>
      </dgm:t>
    </dgm:pt>
    <dgm:pt modelId="{496969FA-2EB1-4477-806F-4F367CEBCCB3}" type="sibTrans" cxnId="{71F188D0-1359-4288-AC28-4E82E9B731D8}">
      <dgm:prSet/>
      <dgm:spPr/>
      <dgm:t>
        <a:bodyPr/>
        <a:lstStyle/>
        <a:p>
          <a:endParaRPr lang="es-CO"/>
        </a:p>
      </dgm:t>
    </dgm:pt>
    <dgm:pt modelId="{59541B7B-1701-48A7-91E7-B66AF577D713}">
      <dgm:prSet/>
      <dgm:spPr/>
      <dgm:t>
        <a:bodyPr/>
        <a:lstStyle/>
        <a:p>
          <a:endParaRPr lang="es-CO"/>
        </a:p>
      </dgm:t>
    </dgm:pt>
    <dgm:pt modelId="{E2E7EF9C-3830-46FB-BF05-5B34BE9E6DD7}" type="parTrans" cxnId="{889F0B48-E5DA-4FEF-B044-560AD25659EC}">
      <dgm:prSet/>
      <dgm:spPr/>
      <dgm:t>
        <a:bodyPr/>
        <a:lstStyle/>
        <a:p>
          <a:endParaRPr lang="es-CO"/>
        </a:p>
      </dgm:t>
    </dgm:pt>
    <dgm:pt modelId="{7F114E74-F050-400E-BCFA-5F861F0545FB}" type="sibTrans" cxnId="{889F0B48-E5DA-4FEF-B044-560AD25659EC}">
      <dgm:prSet/>
      <dgm:spPr/>
      <dgm:t>
        <a:bodyPr/>
        <a:lstStyle/>
        <a:p>
          <a:endParaRPr lang="es-CO"/>
        </a:p>
      </dgm:t>
    </dgm:pt>
    <dgm:pt modelId="{D4732819-34C0-4D7D-9F41-3AA3AFF43CBA}" type="pres">
      <dgm:prSet presAssocID="{472B9A19-6750-4C3A-9414-58029D9F2C31}" presName="composite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5B7FBAFF-D96B-44E0-BE87-49091DAF0878}" type="pres">
      <dgm:prSet presAssocID="{472B9A19-6750-4C3A-9414-58029D9F2C31}" presName="radial" presStyleCnt="0">
        <dgm:presLayoutVars>
          <dgm:animLvl val="ctr"/>
        </dgm:presLayoutVars>
      </dgm:prSet>
      <dgm:spPr/>
    </dgm:pt>
    <dgm:pt modelId="{E9DC7A22-CE67-4A7F-8358-F0A6A85EBFEA}" type="pres">
      <dgm:prSet presAssocID="{900023B0-2443-48D0-B0A0-1C71E0F80F8E}" presName="centerShape" presStyleLbl="vennNode1" presStyleIdx="0" presStyleCnt="4"/>
      <dgm:spPr/>
      <dgm:t>
        <a:bodyPr/>
        <a:lstStyle/>
        <a:p>
          <a:endParaRPr lang="es-CO"/>
        </a:p>
      </dgm:t>
    </dgm:pt>
    <dgm:pt modelId="{7C952903-E6D3-4C9A-91A6-E9C5B57C1B54}" type="pres">
      <dgm:prSet presAssocID="{FD139535-1897-41F7-B8A4-300FEE37481B}" presName="node" presStyleLbl="vennNode1" presStyleIdx="1" presStyleCnt="4" custScaleX="142824" custScaleY="142689" custRadScaleRad="111859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A3D4FAAF-AABB-4735-9014-1E13443164EF}" type="pres">
      <dgm:prSet presAssocID="{A4C1E240-3B13-4E49-8871-8CB4CCDC407A}" presName="node" presStyleLbl="vennNode1" presStyleIdx="2" presStyleCnt="4" custScaleX="160880" custScaleY="142689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7B200E48-2B25-4FBB-A807-45DD431A5277}" type="pres">
      <dgm:prSet presAssocID="{170AD2B5-013F-4D6C-8FE8-7F773A05EC6D}" presName="node" presStyleLbl="vennNode1" presStyleIdx="3" presStyleCnt="4" custScaleX="142824" custScaleY="142689" custRadScaleRad="113218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35B64E7C-D9FB-45CE-BE84-D2F73F589362}" srcId="{900023B0-2443-48D0-B0A0-1C71E0F80F8E}" destId="{170AD2B5-013F-4D6C-8FE8-7F773A05EC6D}" srcOrd="2" destOrd="0" parTransId="{72395E9A-D468-4279-AC87-76D2E027C9C5}" sibTransId="{82AAA9E8-0A37-4A74-A058-43AFAC3052AE}"/>
    <dgm:cxn modelId="{2530A399-CA9E-47A2-BECC-9205A42870CF}" srcId="{472B9A19-6750-4C3A-9414-58029D9F2C31}" destId="{42EBCC15-769D-4670-870B-88E10B758CFC}" srcOrd="3" destOrd="0" parTransId="{FFF0A425-F695-40E1-9193-CFAF98F4E4A3}" sibTransId="{6F50FF85-7E98-4718-8C6D-8D4033BB140B}"/>
    <dgm:cxn modelId="{4E95E031-1C23-4E87-B9BB-0CDE7A50069D}" srcId="{900023B0-2443-48D0-B0A0-1C71E0F80F8E}" destId="{A4C1E240-3B13-4E49-8871-8CB4CCDC407A}" srcOrd="1" destOrd="0" parTransId="{BBD13BEA-2283-467E-BE4C-FD45136E6E50}" sibTransId="{B8FDC3AB-0556-48AF-A7B4-0F3B383BDFE3}"/>
    <dgm:cxn modelId="{A1EA9226-7F6D-45FE-9F43-2299FD73632A}" type="presOf" srcId="{FD139535-1897-41F7-B8A4-300FEE37481B}" destId="{7C952903-E6D3-4C9A-91A6-E9C5B57C1B54}" srcOrd="0" destOrd="0" presId="urn:microsoft.com/office/officeart/2005/8/layout/radial3"/>
    <dgm:cxn modelId="{19F49F11-E7A0-447C-BDDF-BF6C69779549}" srcId="{472B9A19-6750-4C3A-9414-58029D9F2C31}" destId="{900023B0-2443-48D0-B0A0-1C71E0F80F8E}" srcOrd="0" destOrd="0" parTransId="{CA0C751F-AB8F-44C6-8C0E-11B61F135DE9}" sibTransId="{7BA25CCB-97E6-432C-893F-7B628A53D2A5}"/>
    <dgm:cxn modelId="{0205BDEE-5B6A-416A-ACC7-1CC4FF6C01B0}" srcId="{472B9A19-6750-4C3A-9414-58029D9F2C31}" destId="{AE824915-EA91-4303-BFE2-6CA233802D80}" srcOrd="4" destOrd="0" parTransId="{D6F148DD-164D-452B-B159-B5B21BE923E3}" sibTransId="{12318597-5954-4A25-9FB4-AD5544B96172}"/>
    <dgm:cxn modelId="{AE3A156B-E379-4704-B133-15E04BDADCA8}" srcId="{472B9A19-6750-4C3A-9414-58029D9F2C31}" destId="{F53EBE28-AD8B-486F-9DE2-765B0A3FEF83}" srcOrd="2" destOrd="0" parTransId="{2DC599EB-E303-40FE-ABFF-610E40F3C672}" sibTransId="{3625000E-EE9B-4ADB-89FA-355EDC204F87}"/>
    <dgm:cxn modelId="{889F0B48-E5DA-4FEF-B044-560AD25659EC}" srcId="{472B9A19-6750-4C3A-9414-58029D9F2C31}" destId="{59541B7B-1701-48A7-91E7-B66AF577D713}" srcOrd="8" destOrd="0" parTransId="{E2E7EF9C-3830-46FB-BF05-5B34BE9E6DD7}" sibTransId="{7F114E74-F050-400E-BCFA-5F861F0545FB}"/>
    <dgm:cxn modelId="{E58A1ECD-A665-4287-BD05-07A3D24CEE44}" type="presOf" srcId="{A4C1E240-3B13-4E49-8871-8CB4CCDC407A}" destId="{A3D4FAAF-AABB-4735-9014-1E13443164EF}" srcOrd="0" destOrd="0" presId="urn:microsoft.com/office/officeart/2005/8/layout/radial3"/>
    <dgm:cxn modelId="{0E898815-75A9-49CD-8134-C9C828BC0045}" srcId="{900023B0-2443-48D0-B0A0-1C71E0F80F8E}" destId="{FD139535-1897-41F7-B8A4-300FEE37481B}" srcOrd="0" destOrd="0" parTransId="{C4F6F5B3-FDB8-4118-85AF-61B49869CA0C}" sibTransId="{CD8D1476-9374-49A9-AD46-0A1D8E4F9766}"/>
    <dgm:cxn modelId="{59D460F8-30C6-478C-8C49-DAA8E96C674F}" srcId="{472B9A19-6750-4C3A-9414-58029D9F2C31}" destId="{EE12151B-7CC4-49D1-8525-A327F12A7835}" srcOrd="6" destOrd="0" parTransId="{46575FCD-B947-45AD-806E-352E74C98E2D}" sibTransId="{7AEDAA3B-2667-4C46-8535-3CB2736214E4}"/>
    <dgm:cxn modelId="{71F188D0-1359-4288-AC28-4E82E9B731D8}" srcId="{472B9A19-6750-4C3A-9414-58029D9F2C31}" destId="{26EDB95B-78CA-480D-ACCB-B77868E3885D}" srcOrd="7" destOrd="0" parTransId="{D5CCDF51-5AF3-44C3-B5DB-F5AAAB1B7F67}" sibTransId="{496969FA-2EB1-4477-806F-4F367CEBCCB3}"/>
    <dgm:cxn modelId="{B9DC0542-2B58-4519-93D7-1E0815A04252}" srcId="{472B9A19-6750-4C3A-9414-58029D9F2C31}" destId="{8B2F8BFA-75DB-4C11-8C41-A8BB6BD53A14}" srcOrd="5" destOrd="0" parTransId="{291256C0-7803-43DA-88B7-B9ABA2A8A0F5}" sibTransId="{828DC536-6A28-479F-9391-C7FAC03FC35F}"/>
    <dgm:cxn modelId="{B19FF780-105B-4040-A37A-EDBF32ACCA5D}" type="presOf" srcId="{170AD2B5-013F-4D6C-8FE8-7F773A05EC6D}" destId="{7B200E48-2B25-4FBB-A807-45DD431A5277}" srcOrd="0" destOrd="0" presId="urn:microsoft.com/office/officeart/2005/8/layout/radial3"/>
    <dgm:cxn modelId="{01E5E4EE-05EE-45F5-B716-4163C6EEF13F}" type="presOf" srcId="{900023B0-2443-48D0-B0A0-1C71E0F80F8E}" destId="{E9DC7A22-CE67-4A7F-8358-F0A6A85EBFEA}" srcOrd="0" destOrd="0" presId="urn:microsoft.com/office/officeart/2005/8/layout/radial3"/>
    <dgm:cxn modelId="{FCAC1D16-E024-4202-B3F0-B34807343497}" type="presOf" srcId="{472B9A19-6750-4C3A-9414-58029D9F2C31}" destId="{D4732819-34C0-4D7D-9F41-3AA3AFF43CBA}" srcOrd="0" destOrd="0" presId="urn:microsoft.com/office/officeart/2005/8/layout/radial3"/>
    <dgm:cxn modelId="{71471B5B-207E-40BE-80F3-9C6AC8C0928A}" srcId="{472B9A19-6750-4C3A-9414-58029D9F2C31}" destId="{9296F4A9-10A1-4181-8B89-F680EA9A58BF}" srcOrd="1" destOrd="0" parTransId="{A7E9DC48-2E09-4774-879B-0172B591153B}" sibTransId="{56FC06E3-91C0-4ABC-8056-7ECE214BC366}"/>
    <dgm:cxn modelId="{227812A3-8566-4F21-83C7-055BB5C11E8A}" type="presParOf" srcId="{D4732819-34C0-4D7D-9F41-3AA3AFF43CBA}" destId="{5B7FBAFF-D96B-44E0-BE87-49091DAF0878}" srcOrd="0" destOrd="0" presId="urn:microsoft.com/office/officeart/2005/8/layout/radial3"/>
    <dgm:cxn modelId="{8634F942-9721-44AC-8A85-74FE216AAD12}" type="presParOf" srcId="{5B7FBAFF-D96B-44E0-BE87-49091DAF0878}" destId="{E9DC7A22-CE67-4A7F-8358-F0A6A85EBFEA}" srcOrd="0" destOrd="0" presId="urn:microsoft.com/office/officeart/2005/8/layout/radial3"/>
    <dgm:cxn modelId="{59DA8D00-6A57-42F6-993F-EDC60C5AA590}" type="presParOf" srcId="{5B7FBAFF-D96B-44E0-BE87-49091DAF0878}" destId="{7C952903-E6D3-4C9A-91A6-E9C5B57C1B54}" srcOrd="1" destOrd="0" presId="urn:microsoft.com/office/officeart/2005/8/layout/radial3"/>
    <dgm:cxn modelId="{634A4051-362F-4E4B-AF33-ACE8A2744A25}" type="presParOf" srcId="{5B7FBAFF-D96B-44E0-BE87-49091DAF0878}" destId="{A3D4FAAF-AABB-4735-9014-1E13443164EF}" srcOrd="2" destOrd="0" presId="urn:microsoft.com/office/officeart/2005/8/layout/radial3"/>
    <dgm:cxn modelId="{6044EAE3-231E-4C72-9FAA-3A4AF0238ECE}" type="presParOf" srcId="{5B7FBAFF-D96B-44E0-BE87-49091DAF0878}" destId="{7B200E48-2B25-4FBB-A807-45DD431A5277}" srcOrd="3" destOrd="0" presId="urn:microsoft.com/office/officeart/2005/8/layout/radial3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70E7E4ED-4075-4C79-892B-59713DE3656D}" type="doc">
      <dgm:prSet loTypeId="urn:microsoft.com/office/officeart/2005/8/layout/list1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s-CO"/>
        </a:p>
      </dgm:t>
    </dgm:pt>
    <dgm:pt modelId="{55554ABE-44B4-4DC6-BC6D-E31A8BACD25E}">
      <dgm:prSet phldrT="[Texto]" custT="1"/>
      <dgm:spPr/>
      <dgm:t>
        <a:bodyPr/>
        <a:lstStyle/>
        <a:p>
          <a:r>
            <a:rPr lang="es-CO" sz="1800" b="1" dirty="0" smtClean="0">
              <a:solidFill>
                <a:srgbClr val="C00000"/>
              </a:solidFill>
            </a:rPr>
            <a:t>ORGANIZACIÓN</a:t>
          </a:r>
          <a:endParaRPr lang="es-CO" sz="1800" b="1" dirty="0">
            <a:solidFill>
              <a:srgbClr val="C00000"/>
            </a:solidFill>
          </a:endParaRPr>
        </a:p>
      </dgm:t>
    </dgm:pt>
    <dgm:pt modelId="{B4F2515C-AAA1-4781-B53E-1AA9D8B48237}" type="parTrans" cxnId="{84B3F892-622E-4971-97BF-DD02B736A8A4}">
      <dgm:prSet/>
      <dgm:spPr/>
      <dgm:t>
        <a:bodyPr/>
        <a:lstStyle/>
        <a:p>
          <a:endParaRPr lang="es-CO"/>
        </a:p>
      </dgm:t>
    </dgm:pt>
    <dgm:pt modelId="{06D8D9AA-2750-45CA-BEFB-A8C036D1CAB3}" type="sibTrans" cxnId="{84B3F892-622E-4971-97BF-DD02B736A8A4}">
      <dgm:prSet/>
      <dgm:spPr/>
      <dgm:t>
        <a:bodyPr/>
        <a:lstStyle/>
        <a:p>
          <a:endParaRPr lang="es-CO"/>
        </a:p>
      </dgm:t>
    </dgm:pt>
    <dgm:pt modelId="{129460C4-69D5-4817-9B5E-DC367C31ABCC}">
      <dgm:prSet phldrT="[Texto]" custT="1"/>
      <dgm:spPr/>
      <dgm:t>
        <a:bodyPr/>
        <a:lstStyle/>
        <a:p>
          <a:r>
            <a:rPr lang="es-CO" sz="1600" dirty="0" smtClean="0"/>
            <a:t>Lograr posicionamiento   y empoderamiento de la FTDH. </a:t>
          </a:r>
          <a:endParaRPr lang="es-CO" sz="1600" dirty="0"/>
        </a:p>
      </dgm:t>
    </dgm:pt>
    <dgm:pt modelId="{BD404738-3E46-46DF-A54D-8A0A5A292A30}" type="parTrans" cxnId="{1F2F74CF-0B73-4A7D-B994-5A8A27CB5EA1}">
      <dgm:prSet/>
      <dgm:spPr/>
      <dgm:t>
        <a:bodyPr/>
        <a:lstStyle/>
        <a:p>
          <a:endParaRPr lang="es-CO"/>
        </a:p>
      </dgm:t>
    </dgm:pt>
    <dgm:pt modelId="{97E943D5-4C18-4D4B-8DA5-4359F675AF6A}" type="sibTrans" cxnId="{1F2F74CF-0B73-4A7D-B994-5A8A27CB5EA1}">
      <dgm:prSet/>
      <dgm:spPr/>
      <dgm:t>
        <a:bodyPr/>
        <a:lstStyle/>
        <a:p>
          <a:endParaRPr lang="es-CO"/>
        </a:p>
      </dgm:t>
    </dgm:pt>
    <dgm:pt modelId="{12EB48E0-C150-476F-ADD2-2FF4CF160EA4}">
      <dgm:prSet phldrT="[Texto]" custT="1"/>
      <dgm:spPr/>
      <dgm:t>
        <a:bodyPr/>
        <a:lstStyle/>
        <a:p>
          <a:r>
            <a:rPr lang="es-CO" sz="1800" b="1" dirty="0" smtClean="0">
              <a:solidFill>
                <a:srgbClr val="C00000"/>
              </a:solidFill>
            </a:rPr>
            <a:t>ASISTENCIA TECNICA /INSPECCION Y VIGILANCIA</a:t>
          </a:r>
          <a:endParaRPr lang="es-CO" sz="1800" b="1" dirty="0">
            <a:solidFill>
              <a:srgbClr val="C00000"/>
            </a:solidFill>
          </a:endParaRPr>
        </a:p>
      </dgm:t>
    </dgm:pt>
    <dgm:pt modelId="{E1478186-3752-42C7-B67A-AE9571627ED7}" type="parTrans" cxnId="{2342E131-3524-4411-979C-1AA3421D0F3A}">
      <dgm:prSet/>
      <dgm:spPr/>
      <dgm:t>
        <a:bodyPr/>
        <a:lstStyle/>
        <a:p>
          <a:endParaRPr lang="es-CO"/>
        </a:p>
      </dgm:t>
    </dgm:pt>
    <dgm:pt modelId="{B8AA3DAE-7696-4937-9B6D-D9297B0ECE4C}" type="sibTrans" cxnId="{2342E131-3524-4411-979C-1AA3421D0F3A}">
      <dgm:prSet/>
      <dgm:spPr/>
      <dgm:t>
        <a:bodyPr/>
        <a:lstStyle/>
        <a:p>
          <a:endParaRPr lang="es-CO"/>
        </a:p>
      </dgm:t>
    </dgm:pt>
    <dgm:pt modelId="{E6F494A8-8B96-40B4-AF10-D1683F210D0A}">
      <dgm:prSet phldrT="[Texto]" custT="1"/>
      <dgm:spPr/>
      <dgm:t>
        <a:bodyPr/>
        <a:lstStyle/>
        <a:p>
          <a:r>
            <a:rPr lang="es-ES_tradnl" sz="1600" dirty="0" smtClean="0"/>
            <a:t>Solucionar las debilidades en las áreas de Inspección y Vigilancia y calidad para calificar y acompañar  a las IETDH.</a:t>
          </a:r>
          <a:endParaRPr lang="es-CO" sz="1600" dirty="0"/>
        </a:p>
      </dgm:t>
    </dgm:pt>
    <dgm:pt modelId="{C8B11C01-717B-4AC8-BE49-8AC895918EDB}" type="parTrans" cxnId="{D40797B6-AEBE-417C-A15B-ADFFE83B3BD9}">
      <dgm:prSet/>
      <dgm:spPr/>
      <dgm:t>
        <a:bodyPr/>
        <a:lstStyle/>
        <a:p>
          <a:endParaRPr lang="es-CO"/>
        </a:p>
      </dgm:t>
    </dgm:pt>
    <dgm:pt modelId="{D7793D13-5ED1-402E-A17C-BAA09DFCD660}" type="sibTrans" cxnId="{D40797B6-AEBE-417C-A15B-ADFFE83B3BD9}">
      <dgm:prSet/>
      <dgm:spPr/>
      <dgm:t>
        <a:bodyPr/>
        <a:lstStyle/>
        <a:p>
          <a:endParaRPr lang="es-CO"/>
        </a:p>
      </dgm:t>
    </dgm:pt>
    <dgm:pt modelId="{7B9DC4D4-368C-4F71-A935-AB1B0409E6B4}">
      <dgm:prSet custT="1"/>
      <dgm:spPr/>
      <dgm:t>
        <a:bodyPr/>
        <a:lstStyle/>
        <a:p>
          <a:r>
            <a:rPr lang="es-ES_tradnl" sz="1600" dirty="0" smtClean="0"/>
            <a:t>Mayor interacción entre el MEN y la Entidad Territorial.</a:t>
          </a:r>
          <a:r>
            <a:rPr lang="es-ES_tradnl" sz="1600" b="1" dirty="0" smtClean="0"/>
            <a:t> </a:t>
          </a:r>
          <a:endParaRPr lang="es-CO" sz="1600" dirty="0"/>
        </a:p>
      </dgm:t>
    </dgm:pt>
    <dgm:pt modelId="{53304724-30FF-426D-97FF-C89B8AA44ADE}" type="parTrans" cxnId="{21CDCFFF-14FC-4965-A5AF-6E5E7FC4CF28}">
      <dgm:prSet/>
      <dgm:spPr/>
      <dgm:t>
        <a:bodyPr/>
        <a:lstStyle/>
        <a:p>
          <a:endParaRPr lang="es-CO"/>
        </a:p>
      </dgm:t>
    </dgm:pt>
    <dgm:pt modelId="{10A05EF0-87B1-4957-88C5-DAB9C4EB4A8B}" type="sibTrans" cxnId="{21CDCFFF-14FC-4965-A5AF-6E5E7FC4CF28}">
      <dgm:prSet/>
      <dgm:spPr/>
      <dgm:t>
        <a:bodyPr/>
        <a:lstStyle/>
        <a:p>
          <a:endParaRPr lang="es-CO"/>
        </a:p>
      </dgm:t>
    </dgm:pt>
    <dgm:pt modelId="{E75C7AA6-033C-4C51-916E-082E768177D7}">
      <dgm:prSet custT="1"/>
      <dgm:spPr/>
      <dgm:t>
        <a:bodyPr/>
        <a:lstStyle/>
        <a:p>
          <a:r>
            <a:rPr lang="es-CO" sz="1600" dirty="0" smtClean="0"/>
            <a:t>Consolidar S</a:t>
          </a:r>
          <a:r>
            <a:rPr lang="es-MX" sz="1600" dirty="0" err="1" smtClean="0"/>
            <a:t>istema</a:t>
          </a:r>
          <a:r>
            <a:rPr lang="es-MX" sz="1600" dirty="0" smtClean="0"/>
            <a:t> de  Formación para el Trabajo desde el MEN y logre instalar capacidad en la SE</a:t>
          </a:r>
          <a:endParaRPr lang="es-CO" sz="1600" dirty="0"/>
        </a:p>
      </dgm:t>
    </dgm:pt>
    <dgm:pt modelId="{6FBDA284-FE00-4F3B-9BFA-9031697B12F2}" type="parTrans" cxnId="{CDF2A636-AAB6-469C-AABF-6D63CC70096C}">
      <dgm:prSet/>
      <dgm:spPr/>
      <dgm:t>
        <a:bodyPr/>
        <a:lstStyle/>
        <a:p>
          <a:endParaRPr lang="es-CO"/>
        </a:p>
      </dgm:t>
    </dgm:pt>
    <dgm:pt modelId="{D1659981-3C69-4FD0-B273-197EF91356BA}" type="sibTrans" cxnId="{CDF2A636-AAB6-469C-AABF-6D63CC70096C}">
      <dgm:prSet/>
      <dgm:spPr/>
      <dgm:t>
        <a:bodyPr/>
        <a:lstStyle/>
        <a:p>
          <a:endParaRPr lang="es-CO"/>
        </a:p>
      </dgm:t>
    </dgm:pt>
    <dgm:pt modelId="{CAA6D0A3-933F-4821-895A-E9E9A387298C}">
      <dgm:prSet custT="1"/>
      <dgm:spPr/>
      <dgm:t>
        <a:bodyPr/>
        <a:lstStyle/>
        <a:p>
          <a:r>
            <a:rPr lang="es-CO" sz="1600" b="0" dirty="0" smtClean="0"/>
            <a:t>Definir estructura y organización de la ET</a:t>
          </a:r>
          <a:endParaRPr lang="es-CO" sz="1600" b="0" dirty="0"/>
        </a:p>
      </dgm:t>
    </dgm:pt>
    <dgm:pt modelId="{A0AA4F2A-23A5-4CA0-990E-8E6040881C8E}" type="parTrans" cxnId="{48C8FEA4-0EB8-4E6C-BB3D-10DDDC9872ED}">
      <dgm:prSet/>
      <dgm:spPr/>
      <dgm:t>
        <a:bodyPr/>
        <a:lstStyle/>
        <a:p>
          <a:endParaRPr lang="es-CO"/>
        </a:p>
      </dgm:t>
    </dgm:pt>
    <dgm:pt modelId="{F85BCD07-AEEE-4715-8677-0C055B73F698}" type="sibTrans" cxnId="{48C8FEA4-0EB8-4E6C-BB3D-10DDDC9872ED}">
      <dgm:prSet/>
      <dgm:spPr/>
      <dgm:t>
        <a:bodyPr/>
        <a:lstStyle/>
        <a:p>
          <a:endParaRPr lang="es-CO"/>
        </a:p>
      </dgm:t>
    </dgm:pt>
    <dgm:pt modelId="{18E08DCA-BD24-4426-B0BB-A2B68213C896}">
      <dgm:prSet custT="1"/>
      <dgm:spPr/>
      <dgm:t>
        <a:bodyPr/>
        <a:lstStyle/>
        <a:p>
          <a:r>
            <a:rPr lang="es-ES_tradnl" sz="1600" dirty="0" smtClean="0"/>
            <a:t>Fortalecer los equipos de las Secretarías de Educación para atender esta responsabilidad.</a:t>
          </a:r>
          <a:endParaRPr lang="es-CO" sz="1600" dirty="0"/>
        </a:p>
      </dgm:t>
    </dgm:pt>
    <dgm:pt modelId="{7AFEC964-5B4B-47BE-BF85-4BA1D8A1E4A9}" type="parTrans" cxnId="{82E404D8-6DEC-4E11-B7F8-B3493D9B5E02}">
      <dgm:prSet/>
      <dgm:spPr/>
      <dgm:t>
        <a:bodyPr/>
        <a:lstStyle/>
        <a:p>
          <a:endParaRPr lang="es-CO"/>
        </a:p>
      </dgm:t>
    </dgm:pt>
    <dgm:pt modelId="{1310D67A-1895-4357-BB6B-D4BFF1F11E15}" type="sibTrans" cxnId="{82E404D8-6DEC-4E11-B7F8-B3493D9B5E02}">
      <dgm:prSet/>
      <dgm:spPr/>
      <dgm:t>
        <a:bodyPr/>
        <a:lstStyle/>
        <a:p>
          <a:endParaRPr lang="es-CO"/>
        </a:p>
      </dgm:t>
    </dgm:pt>
    <dgm:pt modelId="{48FB4929-53D1-478A-952B-832347F57377}">
      <dgm:prSet custT="1"/>
      <dgm:spPr/>
      <dgm:t>
        <a:bodyPr/>
        <a:lstStyle/>
        <a:p>
          <a:r>
            <a:rPr lang="es-CO" sz="1600" dirty="0" smtClean="0"/>
            <a:t>Contar con recurso humano idóneo para evaluación y seguimiento</a:t>
          </a:r>
          <a:endParaRPr lang="es-CO" sz="1600" dirty="0"/>
        </a:p>
      </dgm:t>
    </dgm:pt>
    <dgm:pt modelId="{5B1BA447-A994-41CE-A451-09A5EBB1B388}" type="parTrans" cxnId="{CB1EA18E-94A7-47CA-9157-9EA9BDDC9F7F}">
      <dgm:prSet/>
      <dgm:spPr/>
      <dgm:t>
        <a:bodyPr/>
        <a:lstStyle/>
        <a:p>
          <a:endParaRPr lang="es-CO"/>
        </a:p>
      </dgm:t>
    </dgm:pt>
    <dgm:pt modelId="{9B19025E-16CE-413A-8D6A-64A0C8F52AFD}" type="sibTrans" cxnId="{CB1EA18E-94A7-47CA-9157-9EA9BDDC9F7F}">
      <dgm:prSet/>
      <dgm:spPr/>
      <dgm:t>
        <a:bodyPr/>
        <a:lstStyle/>
        <a:p>
          <a:endParaRPr lang="es-CO"/>
        </a:p>
      </dgm:t>
    </dgm:pt>
    <dgm:pt modelId="{63A8054C-102A-456F-BEAD-DDC9FDEDA503}">
      <dgm:prSet custT="1"/>
      <dgm:spPr/>
      <dgm:t>
        <a:bodyPr/>
        <a:lstStyle/>
        <a:p>
          <a:r>
            <a:rPr lang="es-CO" sz="1600" dirty="0" smtClean="0"/>
            <a:t>Brindar desde el MEN capacitación a las SE para asumir asistencia técnica.</a:t>
          </a:r>
          <a:endParaRPr lang="es-CO" sz="1600" dirty="0"/>
        </a:p>
      </dgm:t>
    </dgm:pt>
    <dgm:pt modelId="{673F46E2-714F-4E7D-9B73-9EAED6ECCE66}" type="parTrans" cxnId="{60213CBB-B802-4096-8342-67790556C276}">
      <dgm:prSet/>
      <dgm:spPr/>
      <dgm:t>
        <a:bodyPr/>
        <a:lstStyle/>
        <a:p>
          <a:endParaRPr lang="es-CO"/>
        </a:p>
      </dgm:t>
    </dgm:pt>
    <dgm:pt modelId="{2D4DC880-A645-4657-9F46-8BC24307AF65}" type="sibTrans" cxnId="{60213CBB-B802-4096-8342-67790556C276}">
      <dgm:prSet/>
      <dgm:spPr/>
      <dgm:t>
        <a:bodyPr/>
        <a:lstStyle/>
        <a:p>
          <a:endParaRPr lang="es-CO"/>
        </a:p>
      </dgm:t>
    </dgm:pt>
    <dgm:pt modelId="{2CE364C5-E0E1-451C-86A5-5D70F86B1453}">
      <dgm:prSet custT="1"/>
      <dgm:spPr/>
      <dgm:t>
        <a:bodyPr/>
        <a:lstStyle/>
        <a:p>
          <a:endParaRPr lang="es-CO" sz="1400" dirty="0"/>
        </a:p>
      </dgm:t>
    </dgm:pt>
    <dgm:pt modelId="{7E74D03B-F76F-498A-9AEF-1AE0E63F449E}" type="parTrans" cxnId="{1A037A55-D108-4210-A9FD-492EF82A31A5}">
      <dgm:prSet/>
      <dgm:spPr/>
      <dgm:t>
        <a:bodyPr/>
        <a:lstStyle/>
        <a:p>
          <a:endParaRPr lang="es-CO"/>
        </a:p>
      </dgm:t>
    </dgm:pt>
    <dgm:pt modelId="{0753B505-117A-4D0D-9B6F-CF19C6F87736}" type="sibTrans" cxnId="{1A037A55-D108-4210-A9FD-492EF82A31A5}">
      <dgm:prSet/>
      <dgm:spPr/>
      <dgm:t>
        <a:bodyPr/>
        <a:lstStyle/>
        <a:p>
          <a:endParaRPr lang="es-CO"/>
        </a:p>
      </dgm:t>
    </dgm:pt>
    <dgm:pt modelId="{2355CC65-6AA3-4742-A06E-0305A19F15FB}" type="pres">
      <dgm:prSet presAssocID="{70E7E4ED-4075-4C79-892B-59713DE3656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C6892745-F6CE-48E3-B13F-0BD8DB78FF09}" type="pres">
      <dgm:prSet presAssocID="{55554ABE-44B4-4DC6-BC6D-E31A8BACD25E}" presName="parentLin" presStyleCnt="0"/>
      <dgm:spPr/>
    </dgm:pt>
    <dgm:pt modelId="{A42C596C-00AE-4543-9F69-F2562C2AEE60}" type="pres">
      <dgm:prSet presAssocID="{55554ABE-44B4-4DC6-BC6D-E31A8BACD25E}" presName="parentLeftMargin" presStyleLbl="node1" presStyleIdx="0" presStyleCnt="2"/>
      <dgm:spPr/>
      <dgm:t>
        <a:bodyPr/>
        <a:lstStyle/>
        <a:p>
          <a:endParaRPr lang="es-CO"/>
        </a:p>
      </dgm:t>
    </dgm:pt>
    <dgm:pt modelId="{C5A07561-FDBD-4F9E-98C4-FFE0066B356F}" type="pres">
      <dgm:prSet presAssocID="{55554ABE-44B4-4DC6-BC6D-E31A8BACD25E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884E7C34-A837-4854-800F-561535F0108B}" type="pres">
      <dgm:prSet presAssocID="{55554ABE-44B4-4DC6-BC6D-E31A8BACD25E}" presName="negativeSpace" presStyleCnt="0"/>
      <dgm:spPr/>
    </dgm:pt>
    <dgm:pt modelId="{2C1C7BD4-C64F-43A1-93D1-DD80AD9D2D0B}" type="pres">
      <dgm:prSet presAssocID="{55554ABE-44B4-4DC6-BC6D-E31A8BACD25E}" presName="childText" presStyleLbl="conFgAcc1" presStyleIdx="0" presStyleCnt="2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DECE24EC-475A-4EEB-8855-D57EF34D9F09}" type="pres">
      <dgm:prSet presAssocID="{06D8D9AA-2750-45CA-BEFB-A8C036D1CAB3}" presName="spaceBetweenRectangles" presStyleCnt="0"/>
      <dgm:spPr/>
    </dgm:pt>
    <dgm:pt modelId="{D15B5CDA-592D-4300-A3A1-70976BD54305}" type="pres">
      <dgm:prSet presAssocID="{12EB48E0-C150-476F-ADD2-2FF4CF160EA4}" presName="parentLin" presStyleCnt="0"/>
      <dgm:spPr/>
    </dgm:pt>
    <dgm:pt modelId="{00015392-8FBD-4E86-9731-5271EFFA4625}" type="pres">
      <dgm:prSet presAssocID="{12EB48E0-C150-476F-ADD2-2FF4CF160EA4}" presName="parentLeftMargin" presStyleLbl="node1" presStyleIdx="0" presStyleCnt="2"/>
      <dgm:spPr/>
      <dgm:t>
        <a:bodyPr/>
        <a:lstStyle/>
        <a:p>
          <a:endParaRPr lang="es-CO"/>
        </a:p>
      </dgm:t>
    </dgm:pt>
    <dgm:pt modelId="{C17E2D99-9489-456E-97E3-D967472EAAD2}" type="pres">
      <dgm:prSet presAssocID="{12EB48E0-C150-476F-ADD2-2FF4CF160EA4}" presName="parentText" presStyleLbl="node1" presStyleIdx="1" presStyleCnt="2" custScaleY="139837">
        <dgm:presLayoutVars>
          <dgm:chMax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BFDFCC20-7E55-4208-B48C-27045F721D42}" type="pres">
      <dgm:prSet presAssocID="{12EB48E0-C150-476F-ADD2-2FF4CF160EA4}" presName="negativeSpace" presStyleCnt="0"/>
      <dgm:spPr/>
    </dgm:pt>
    <dgm:pt modelId="{FF3B3633-D802-4A33-93EF-DF8BCCA949EB}" type="pres">
      <dgm:prSet presAssocID="{12EB48E0-C150-476F-ADD2-2FF4CF160EA4}" presName="childText" presStyleLbl="conFgAcc1" presStyleIdx="1" presStyleCnt="2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6AE99DD1-1151-4ECC-B182-3A93624FD630}" type="presOf" srcId="{12EB48E0-C150-476F-ADD2-2FF4CF160EA4}" destId="{C17E2D99-9489-456E-97E3-D967472EAAD2}" srcOrd="1" destOrd="0" presId="urn:microsoft.com/office/officeart/2005/8/layout/list1"/>
    <dgm:cxn modelId="{CDF2A636-AAB6-469C-AABF-6D63CC70096C}" srcId="{55554ABE-44B4-4DC6-BC6D-E31A8BACD25E}" destId="{E75C7AA6-033C-4C51-916E-082E768177D7}" srcOrd="2" destOrd="0" parTransId="{6FBDA284-FE00-4F3B-9BFA-9031697B12F2}" sibTransId="{D1659981-3C69-4FD0-B273-197EF91356BA}"/>
    <dgm:cxn modelId="{D40797B6-AEBE-417C-A15B-ADFFE83B3BD9}" srcId="{12EB48E0-C150-476F-ADD2-2FF4CF160EA4}" destId="{E6F494A8-8B96-40B4-AF10-D1683F210D0A}" srcOrd="0" destOrd="0" parTransId="{C8B11C01-717B-4AC8-BE49-8AC895918EDB}" sibTransId="{D7793D13-5ED1-402E-A17C-BAA09DFCD660}"/>
    <dgm:cxn modelId="{1F2F74CF-0B73-4A7D-B994-5A8A27CB5EA1}" srcId="{55554ABE-44B4-4DC6-BC6D-E31A8BACD25E}" destId="{129460C4-69D5-4817-9B5E-DC367C31ABCC}" srcOrd="0" destOrd="0" parTransId="{BD404738-3E46-46DF-A54D-8A0A5A292A30}" sibTransId="{97E943D5-4C18-4D4B-8DA5-4359F675AF6A}"/>
    <dgm:cxn modelId="{82E404D8-6DEC-4E11-B7F8-B3493D9B5E02}" srcId="{55554ABE-44B4-4DC6-BC6D-E31A8BACD25E}" destId="{18E08DCA-BD24-4426-B0BB-A2B68213C896}" srcOrd="4" destOrd="0" parTransId="{7AFEC964-5B4B-47BE-BF85-4BA1D8A1E4A9}" sibTransId="{1310D67A-1895-4357-BB6B-D4BFF1F11E15}"/>
    <dgm:cxn modelId="{C0D6A5F4-4E2A-45B7-9688-2B96B89CEB6F}" type="presOf" srcId="{18E08DCA-BD24-4426-B0BB-A2B68213C896}" destId="{2C1C7BD4-C64F-43A1-93D1-DD80AD9D2D0B}" srcOrd="0" destOrd="4" presId="urn:microsoft.com/office/officeart/2005/8/layout/list1"/>
    <dgm:cxn modelId="{CB1EA18E-94A7-47CA-9157-9EA9BDDC9F7F}" srcId="{55554ABE-44B4-4DC6-BC6D-E31A8BACD25E}" destId="{48FB4929-53D1-478A-952B-832347F57377}" srcOrd="5" destOrd="0" parTransId="{5B1BA447-A994-41CE-A451-09A5EBB1B388}" sibTransId="{9B19025E-16CE-413A-8D6A-64A0C8F52AFD}"/>
    <dgm:cxn modelId="{E11556D2-108E-456C-BA53-23F19112BABC}" type="presOf" srcId="{12EB48E0-C150-476F-ADD2-2FF4CF160EA4}" destId="{00015392-8FBD-4E86-9731-5271EFFA4625}" srcOrd="0" destOrd="0" presId="urn:microsoft.com/office/officeart/2005/8/layout/list1"/>
    <dgm:cxn modelId="{60213CBB-B802-4096-8342-67790556C276}" srcId="{12EB48E0-C150-476F-ADD2-2FF4CF160EA4}" destId="{63A8054C-102A-456F-BEAD-DDC9FDEDA503}" srcOrd="1" destOrd="0" parTransId="{673F46E2-714F-4E7D-9B73-9EAED6ECCE66}" sibTransId="{2D4DC880-A645-4657-9F46-8BC24307AF65}"/>
    <dgm:cxn modelId="{84B3F892-622E-4971-97BF-DD02B736A8A4}" srcId="{70E7E4ED-4075-4C79-892B-59713DE3656D}" destId="{55554ABE-44B4-4DC6-BC6D-E31A8BACD25E}" srcOrd="0" destOrd="0" parTransId="{B4F2515C-AAA1-4781-B53E-1AA9D8B48237}" sibTransId="{06D8D9AA-2750-45CA-BEFB-A8C036D1CAB3}"/>
    <dgm:cxn modelId="{1A037A55-D108-4210-A9FD-492EF82A31A5}" srcId="{12EB48E0-C150-476F-ADD2-2FF4CF160EA4}" destId="{2CE364C5-E0E1-451C-86A5-5D70F86B1453}" srcOrd="2" destOrd="0" parTransId="{7E74D03B-F76F-498A-9AEF-1AE0E63F449E}" sibTransId="{0753B505-117A-4D0D-9B6F-CF19C6F87736}"/>
    <dgm:cxn modelId="{18E405E7-8862-4408-8A0F-6D16682F858F}" type="presOf" srcId="{55554ABE-44B4-4DC6-BC6D-E31A8BACD25E}" destId="{C5A07561-FDBD-4F9E-98C4-FFE0066B356F}" srcOrd="1" destOrd="0" presId="urn:microsoft.com/office/officeart/2005/8/layout/list1"/>
    <dgm:cxn modelId="{05841FC7-0B6D-431E-99A2-33C7F9925C35}" type="presOf" srcId="{48FB4929-53D1-478A-952B-832347F57377}" destId="{2C1C7BD4-C64F-43A1-93D1-DD80AD9D2D0B}" srcOrd="0" destOrd="5" presId="urn:microsoft.com/office/officeart/2005/8/layout/list1"/>
    <dgm:cxn modelId="{6A6E5B3D-BCF2-4CF2-8397-0CF1C3F4ADA5}" type="presOf" srcId="{55554ABE-44B4-4DC6-BC6D-E31A8BACD25E}" destId="{A42C596C-00AE-4543-9F69-F2562C2AEE60}" srcOrd="0" destOrd="0" presId="urn:microsoft.com/office/officeart/2005/8/layout/list1"/>
    <dgm:cxn modelId="{918AF32A-ACED-40B6-B010-1D35F9F6D4FC}" type="presOf" srcId="{2CE364C5-E0E1-451C-86A5-5D70F86B1453}" destId="{FF3B3633-D802-4A33-93EF-DF8BCCA949EB}" srcOrd="0" destOrd="2" presId="urn:microsoft.com/office/officeart/2005/8/layout/list1"/>
    <dgm:cxn modelId="{DE40DE43-18B7-4A73-9BF0-E4518D7FB6BE}" type="presOf" srcId="{E6F494A8-8B96-40B4-AF10-D1683F210D0A}" destId="{FF3B3633-D802-4A33-93EF-DF8BCCA949EB}" srcOrd="0" destOrd="0" presId="urn:microsoft.com/office/officeart/2005/8/layout/list1"/>
    <dgm:cxn modelId="{21CDCFFF-14FC-4965-A5AF-6E5E7FC4CF28}" srcId="{55554ABE-44B4-4DC6-BC6D-E31A8BACD25E}" destId="{7B9DC4D4-368C-4F71-A935-AB1B0409E6B4}" srcOrd="1" destOrd="0" parTransId="{53304724-30FF-426D-97FF-C89B8AA44ADE}" sibTransId="{10A05EF0-87B1-4957-88C5-DAB9C4EB4A8B}"/>
    <dgm:cxn modelId="{9A85D9AF-6938-4623-B6E0-B90008CB05C0}" type="presOf" srcId="{70E7E4ED-4075-4C79-892B-59713DE3656D}" destId="{2355CC65-6AA3-4742-A06E-0305A19F15FB}" srcOrd="0" destOrd="0" presId="urn:microsoft.com/office/officeart/2005/8/layout/list1"/>
    <dgm:cxn modelId="{2342E131-3524-4411-979C-1AA3421D0F3A}" srcId="{70E7E4ED-4075-4C79-892B-59713DE3656D}" destId="{12EB48E0-C150-476F-ADD2-2FF4CF160EA4}" srcOrd="1" destOrd="0" parTransId="{E1478186-3752-42C7-B67A-AE9571627ED7}" sibTransId="{B8AA3DAE-7696-4937-9B6D-D9297B0ECE4C}"/>
    <dgm:cxn modelId="{2683D65A-343A-422F-BE3F-BAC16D0A54F3}" type="presOf" srcId="{129460C4-69D5-4817-9B5E-DC367C31ABCC}" destId="{2C1C7BD4-C64F-43A1-93D1-DD80AD9D2D0B}" srcOrd="0" destOrd="0" presId="urn:microsoft.com/office/officeart/2005/8/layout/list1"/>
    <dgm:cxn modelId="{48C8FEA4-0EB8-4E6C-BB3D-10DDDC9872ED}" srcId="{55554ABE-44B4-4DC6-BC6D-E31A8BACD25E}" destId="{CAA6D0A3-933F-4821-895A-E9E9A387298C}" srcOrd="3" destOrd="0" parTransId="{A0AA4F2A-23A5-4CA0-990E-8E6040881C8E}" sibTransId="{F85BCD07-AEEE-4715-8677-0C055B73F698}"/>
    <dgm:cxn modelId="{8EC6570E-E7C3-4204-BB5F-4C9289E0EC06}" type="presOf" srcId="{7B9DC4D4-368C-4F71-A935-AB1B0409E6B4}" destId="{2C1C7BD4-C64F-43A1-93D1-DD80AD9D2D0B}" srcOrd="0" destOrd="1" presId="urn:microsoft.com/office/officeart/2005/8/layout/list1"/>
    <dgm:cxn modelId="{C6934EF9-B3F9-46BE-B65E-3C038E0BEDBA}" type="presOf" srcId="{63A8054C-102A-456F-BEAD-DDC9FDEDA503}" destId="{FF3B3633-D802-4A33-93EF-DF8BCCA949EB}" srcOrd="0" destOrd="1" presId="urn:microsoft.com/office/officeart/2005/8/layout/list1"/>
    <dgm:cxn modelId="{CFA78562-55EC-42DF-B6D5-959A0EA45AA8}" type="presOf" srcId="{E75C7AA6-033C-4C51-916E-082E768177D7}" destId="{2C1C7BD4-C64F-43A1-93D1-DD80AD9D2D0B}" srcOrd="0" destOrd="2" presId="urn:microsoft.com/office/officeart/2005/8/layout/list1"/>
    <dgm:cxn modelId="{2739A7A3-6B58-4BA5-B622-56993D9E27C6}" type="presOf" srcId="{CAA6D0A3-933F-4821-895A-E9E9A387298C}" destId="{2C1C7BD4-C64F-43A1-93D1-DD80AD9D2D0B}" srcOrd="0" destOrd="3" presId="urn:microsoft.com/office/officeart/2005/8/layout/list1"/>
    <dgm:cxn modelId="{F74EF39B-3F5F-4A8D-A716-D35782C6FB52}" type="presParOf" srcId="{2355CC65-6AA3-4742-A06E-0305A19F15FB}" destId="{C6892745-F6CE-48E3-B13F-0BD8DB78FF09}" srcOrd="0" destOrd="0" presId="urn:microsoft.com/office/officeart/2005/8/layout/list1"/>
    <dgm:cxn modelId="{DD86AF48-F6D6-43FB-94E8-A335539A6CBE}" type="presParOf" srcId="{C6892745-F6CE-48E3-B13F-0BD8DB78FF09}" destId="{A42C596C-00AE-4543-9F69-F2562C2AEE60}" srcOrd="0" destOrd="0" presId="urn:microsoft.com/office/officeart/2005/8/layout/list1"/>
    <dgm:cxn modelId="{FE2B8038-1CE5-4082-8583-E430DA040497}" type="presParOf" srcId="{C6892745-F6CE-48E3-B13F-0BD8DB78FF09}" destId="{C5A07561-FDBD-4F9E-98C4-FFE0066B356F}" srcOrd="1" destOrd="0" presId="urn:microsoft.com/office/officeart/2005/8/layout/list1"/>
    <dgm:cxn modelId="{AB4EEF2A-169C-493C-8AB3-0AB617D23892}" type="presParOf" srcId="{2355CC65-6AA3-4742-A06E-0305A19F15FB}" destId="{884E7C34-A837-4854-800F-561535F0108B}" srcOrd="1" destOrd="0" presId="urn:microsoft.com/office/officeart/2005/8/layout/list1"/>
    <dgm:cxn modelId="{5AD2825A-9CAF-40B8-A310-E1CFFE0A16FC}" type="presParOf" srcId="{2355CC65-6AA3-4742-A06E-0305A19F15FB}" destId="{2C1C7BD4-C64F-43A1-93D1-DD80AD9D2D0B}" srcOrd="2" destOrd="0" presId="urn:microsoft.com/office/officeart/2005/8/layout/list1"/>
    <dgm:cxn modelId="{88C89CAA-C7FF-4E2C-8F74-9E2F33739F5B}" type="presParOf" srcId="{2355CC65-6AA3-4742-A06E-0305A19F15FB}" destId="{DECE24EC-475A-4EEB-8855-D57EF34D9F09}" srcOrd="3" destOrd="0" presId="urn:microsoft.com/office/officeart/2005/8/layout/list1"/>
    <dgm:cxn modelId="{273EBFA7-C578-44AC-8A63-A7F4FA9F40BD}" type="presParOf" srcId="{2355CC65-6AA3-4742-A06E-0305A19F15FB}" destId="{D15B5CDA-592D-4300-A3A1-70976BD54305}" srcOrd="4" destOrd="0" presId="urn:microsoft.com/office/officeart/2005/8/layout/list1"/>
    <dgm:cxn modelId="{7ED53A8B-3806-40B7-9A1C-E8AC65B81094}" type="presParOf" srcId="{D15B5CDA-592D-4300-A3A1-70976BD54305}" destId="{00015392-8FBD-4E86-9731-5271EFFA4625}" srcOrd="0" destOrd="0" presId="urn:microsoft.com/office/officeart/2005/8/layout/list1"/>
    <dgm:cxn modelId="{180847CA-6953-4B90-8549-70498808AD29}" type="presParOf" srcId="{D15B5CDA-592D-4300-A3A1-70976BD54305}" destId="{C17E2D99-9489-456E-97E3-D967472EAAD2}" srcOrd="1" destOrd="0" presId="urn:microsoft.com/office/officeart/2005/8/layout/list1"/>
    <dgm:cxn modelId="{8109A36B-25DD-4678-AFD5-C40B6BD0D0C0}" type="presParOf" srcId="{2355CC65-6AA3-4742-A06E-0305A19F15FB}" destId="{BFDFCC20-7E55-4208-B48C-27045F721D42}" srcOrd="5" destOrd="0" presId="urn:microsoft.com/office/officeart/2005/8/layout/list1"/>
    <dgm:cxn modelId="{E228E26F-1E77-4CD6-AA37-46944D181E8A}" type="presParOf" srcId="{2355CC65-6AA3-4742-A06E-0305A19F15FB}" destId="{FF3B3633-D802-4A33-93EF-DF8BCCA949EB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70E7E4ED-4075-4C79-892B-59713DE3656D}" type="doc">
      <dgm:prSet loTypeId="urn:microsoft.com/office/officeart/2005/8/layout/list1" loCatId="list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s-CO"/>
        </a:p>
      </dgm:t>
    </dgm:pt>
    <dgm:pt modelId="{55554ABE-44B4-4DC6-BC6D-E31A8BACD25E}">
      <dgm:prSet phldrT="[Texto]" custT="1"/>
      <dgm:spPr/>
      <dgm:t>
        <a:bodyPr/>
        <a:lstStyle/>
        <a:p>
          <a:r>
            <a:rPr lang="es-CO" sz="1800" b="1" dirty="0" smtClean="0">
              <a:solidFill>
                <a:srgbClr val="C00000"/>
              </a:solidFill>
            </a:rPr>
            <a:t>ORIENTACIONES Y LINEAMIENTOS PARA  LICENCIAS Y REGISTROS</a:t>
          </a:r>
          <a:endParaRPr lang="es-CO" sz="1800" b="1" dirty="0">
            <a:solidFill>
              <a:srgbClr val="C00000"/>
            </a:solidFill>
          </a:endParaRPr>
        </a:p>
      </dgm:t>
    </dgm:pt>
    <dgm:pt modelId="{B4F2515C-AAA1-4781-B53E-1AA9D8B48237}" type="parTrans" cxnId="{84B3F892-622E-4971-97BF-DD02B736A8A4}">
      <dgm:prSet/>
      <dgm:spPr/>
      <dgm:t>
        <a:bodyPr/>
        <a:lstStyle/>
        <a:p>
          <a:endParaRPr lang="es-CO"/>
        </a:p>
      </dgm:t>
    </dgm:pt>
    <dgm:pt modelId="{06D8D9AA-2750-45CA-BEFB-A8C036D1CAB3}" type="sibTrans" cxnId="{84B3F892-622E-4971-97BF-DD02B736A8A4}">
      <dgm:prSet/>
      <dgm:spPr/>
      <dgm:t>
        <a:bodyPr/>
        <a:lstStyle/>
        <a:p>
          <a:endParaRPr lang="es-CO"/>
        </a:p>
      </dgm:t>
    </dgm:pt>
    <dgm:pt modelId="{129460C4-69D5-4817-9B5E-DC367C31ABCC}">
      <dgm:prSet phldrT="[Texto]" custT="1"/>
      <dgm:spPr/>
      <dgm:t>
        <a:bodyPr/>
        <a:lstStyle/>
        <a:p>
          <a:r>
            <a:rPr lang="es-CO" sz="1400" dirty="0" smtClean="0"/>
            <a:t> </a:t>
          </a:r>
          <a:r>
            <a:rPr lang="es-ES_tradnl" sz="1600" dirty="0" smtClean="0"/>
            <a:t>Lineamientos generales para el desarrollo e implementación, seguimiento y evaluación de la ETDH</a:t>
          </a:r>
          <a:endParaRPr lang="es-CO" sz="1600" dirty="0"/>
        </a:p>
      </dgm:t>
    </dgm:pt>
    <dgm:pt modelId="{BD404738-3E46-46DF-A54D-8A0A5A292A30}" type="parTrans" cxnId="{1F2F74CF-0B73-4A7D-B994-5A8A27CB5EA1}">
      <dgm:prSet/>
      <dgm:spPr/>
      <dgm:t>
        <a:bodyPr/>
        <a:lstStyle/>
        <a:p>
          <a:endParaRPr lang="es-CO"/>
        </a:p>
      </dgm:t>
    </dgm:pt>
    <dgm:pt modelId="{97E943D5-4C18-4D4B-8DA5-4359F675AF6A}" type="sibTrans" cxnId="{1F2F74CF-0B73-4A7D-B994-5A8A27CB5EA1}">
      <dgm:prSet/>
      <dgm:spPr/>
      <dgm:t>
        <a:bodyPr/>
        <a:lstStyle/>
        <a:p>
          <a:endParaRPr lang="es-CO"/>
        </a:p>
      </dgm:t>
    </dgm:pt>
    <dgm:pt modelId="{12EB48E0-C150-476F-ADD2-2FF4CF160EA4}">
      <dgm:prSet phldrT="[Texto]" custT="1"/>
      <dgm:spPr/>
      <dgm:t>
        <a:bodyPr/>
        <a:lstStyle/>
        <a:p>
          <a:r>
            <a:rPr lang="es-CO" sz="1800" b="1" dirty="0" smtClean="0">
              <a:solidFill>
                <a:srgbClr val="C00000"/>
              </a:solidFill>
            </a:rPr>
            <a:t>RECURSOS  FINANCIEROS </a:t>
          </a:r>
          <a:endParaRPr lang="es-CO" sz="1800" b="1" dirty="0">
            <a:solidFill>
              <a:srgbClr val="C00000"/>
            </a:solidFill>
          </a:endParaRPr>
        </a:p>
      </dgm:t>
    </dgm:pt>
    <dgm:pt modelId="{E1478186-3752-42C7-B67A-AE9571627ED7}" type="parTrans" cxnId="{2342E131-3524-4411-979C-1AA3421D0F3A}">
      <dgm:prSet/>
      <dgm:spPr/>
      <dgm:t>
        <a:bodyPr/>
        <a:lstStyle/>
        <a:p>
          <a:endParaRPr lang="es-CO"/>
        </a:p>
      </dgm:t>
    </dgm:pt>
    <dgm:pt modelId="{B8AA3DAE-7696-4937-9B6D-D9297B0ECE4C}" type="sibTrans" cxnId="{2342E131-3524-4411-979C-1AA3421D0F3A}">
      <dgm:prSet/>
      <dgm:spPr/>
      <dgm:t>
        <a:bodyPr/>
        <a:lstStyle/>
        <a:p>
          <a:endParaRPr lang="es-CO"/>
        </a:p>
      </dgm:t>
    </dgm:pt>
    <dgm:pt modelId="{E6F494A8-8B96-40B4-AF10-D1683F210D0A}">
      <dgm:prSet phldrT="[Texto]" custT="1"/>
      <dgm:spPr/>
      <dgm:t>
        <a:bodyPr/>
        <a:lstStyle/>
        <a:p>
          <a:r>
            <a:rPr lang="es-ES_tradnl" sz="1600" dirty="0" smtClean="0"/>
            <a:t>Recursos adicionales para atender este compromiso.</a:t>
          </a:r>
          <a:endParaRPr lang="es-CO" sz="1600" dirty="0"/>
        </a:p>
      </dgm:t>
    </dgm:pt>
    <dgm:pt modelId="{C8B11C01-717B-4AC8-BE49-8AC895918EDB}" type="parTrans" cxnId="{D40797B6-AEBE-417C-A15B-ADFFE83B3BD9}">
      <dgm:prSet/>
      <dgm:spPr/>
      <dgm:t>
        <a:bodyPr/>
        <a:lstStyle/>
        <a:p>
          <a:endParaRPr lang="es-CO"/>
        </a:p>
      </dgm:t>
    </dgm:pt>
    <dgm:pt modelId="{D7793D13-5ED1-402E-A17C-BAA09DFCD660}" type="sibTrans" cxnId="{D40797B6-AEBE-417C-A15B-ADFFE83B3BD9}">
      <dgm:prSet/>
      <dgm:spPr/>
      <dgm:t>
        <a:bodyPr/>
        <a:lstStyle/>
        <a:p>
          <a:endParaRPr lang="es-CO"/>
        </a:p>
      </dgm:t>
    </dgm:pt>
    <dgm:pt modelId="{083CD770-C244-486D-89E9-C5F90B2FD230}">
      <dgm:prSet custT="1"/>
      <dgm:spPr/>
      <dgm:t>
        <a:bodyPr/>
        <a:lstStyle/>
        <a:p>
          <a:r>
            <a:rPr lang="es-ES_tradnl" sz="1600" dirty="0" smtClean="0"/>
            <a:t>Orientación y lineamientos claros para la expedición de licencias y registro de los programas de ETDH</a:t>
          </a:r>
          <a:endParaRPr lang="es-CO" sz="1600" dirty="0"/>
        </a:p>
      </dgm:t>
    </dgm:pt>
    <dgm:pt modelId="{00630870-C587-45C9-8D18-B4E557423070}" type="parTrans" cxnId="{A83CF600-097C-465E-8662-5F29D90816AB}">
      <dgm:prSet/>
      <dgm:spPr/>
      <dgm:t>
        <a:bodyPr/>
        <a:lstStyle/>
        <a:p>
          <a:endParaRPr lang="es-CO"/>
        </a:p>
      </dgm:t>
    </dgm:pt>
    <dgm:pt modelId="{8A792318-9A1B-497A-BC7E-89B184D28085}" type="sibTrans" cxnId="{A83CF600-097C-465E-8662-5F29D90816AB}">
      <dgm:prSet/>
      <dgm:spPr/>
      <dgm:t>
        <a:bodyPr/>
        <a:lstStyle/>
        <a:p>
          <a:endParaRPr lang="es-CO"/>
        </a:p>
      </dgm:t>
    </dgm:pt>
    <dgm:pt modelId="{E744B138-D6F2-438B-B0B0-81485705EB5E}">
      <dgm:prSet custT="1"/>
      <dgm:spPr/>
      <dgm:t>
        <a:bodyPr/>
        <a:lstStyle/>
        <a:p>
          <a:r>
            <a:rPr lang="es-CO" sz="1600" dirty="0" smtClean="0"/>
            <a:t>Diseño de  Guía e instrumentos para orientación y evaluación de programas de ETDH</a:t>
          </a:r>
          <a:endParaRPr lang="es-CO" sz="1600" dirty="0"/>
        </a:p>
      </dgm:t>
    </dgm:pt>
    <dgm:pt modelId="{9777F485-A9E6-41DB-A113-B53A73EBC1F4}" type="parTrans" cxnId="{CDE41196-C011-44E8-BDC9-B4A50AC2144F}">
      <dgm:prSet/>
      <dgm:spPr/>
      <dgm:t>
        <a:bodyPr/>
        <a:lstStyle/>
        <a:p>
          <a:endParaRPr lang="es-CO"/>
        </a:p>
      </dgm:t>
    </dgm:pt>
    <dgm:pt modelId="{B2EB0E97-9825-4A24-939F-7B092A7EE898}" type="sibTrans" cxnId="{CDE41196-C011-44E8-BDC9-B4A50AC2144F}">
      <dgm:prSet/>
      <dgm:spPr/>
      <dgm:t>
        <a:bodyPr/>
        <a:lstStyle/>
        <a:p>
          <a:endParaRPr lang="es-CO"/>
        </a:p>
      </dgm:t>
    </dgm:pt>
    <dgm:pt modelId="{DFC14308-FA15-4CC4-89D6-CCD10E869D40}">
      <dgm:prSet custT="1"/>
      <dgm:spPr/>
      <dgm:t>
        <a:bodyPr/>
        <a:lstStyle/>
        <a:p>
          <a:r>
            <a:rPr lang="es-ES_tradnl" sz="1600" dirty="0" smtClean="0"/>
            <a:t>Generar los recursos económicos para cofinanciar convenios y alianzas que favorezcan esta formación para el trabajo y el desarrollo humano.</a:t>
          </a:r>
          <a:endParaRPr lang="es-CO" sz="1600" dirty="0"/>
        </a:p>
      </dgm:t>
    </dgm:pt>
    <dgm:pt modelId="{0EB2850C-DAC4-4536-9E3D-D3E0565A80FB}" type="parTrans" cxnId="{F24E88E5-65ED-49CC-B0FA-BE79B27DE632}">
      <dgm:prSet/>
      <dgm:spPr/>
      <dgm:t>
        <a:bodyPr/>
        <a:lstStyle/>
        <a:p>
          <a:endParaRPr lang="es-CO"/>
        </a:p>
      </dgm:t>
    </dgm:pt>
    <dgm:pt modelId="{6FA488A1-D3AE-49D2-AEE0-C34255BCBF92}" type="sibTrans" cxnId="{F24E88E5-65ED-49CC-B0FA-BE79B27DE632}">
      <dgm:prSet/>
      <dgm:spPr/>
      <dgm:t>
        <a:bodyPr/>
        <a:lstStyle/>
        <a:p>
          <a:endParaRPr lang="es-CO"/>
        </a:p>
      </dgm:t>
    </dgm:pt>
    <dgm:pt modelId="{88FD43C4-6B12-498D-A039-4F2F62532A9D}">
      <dgm:prSet custT="1"/>
      <dgm:spPr/>
      <dgm:t>
        <a:bodyPr/>
        <a:lstStyle/>
        <a:p>
          <a:r>
            <a:rPr lang="es-ES_tradnl" sz="1600" dirty="0" smtClean="0"/>
            <a:t>Fondo para atender la Formación para el Trabajo como el FEM.</a:t>
          </a:r>
          <a:endParaRPr lang="es-CO" sz="1600" dirty="0"/>
        </a:p>
      </dgm:t>
    </dgm:pt>
    <dgm:pt modelId="{7A9CD2ED-F43A-4AAC-9184-D86B452AE72B}" type="parTrans" cxnId="{9A52626D-5D7D-49EC-8F73-E1B36A5C5A08}">
      <dgm:prSet/>
      <dgm:spPr/>
      <dgm:t>
        <a:bodyPr/>
        <a:lstStyle/>
        <a:p>
          <a:endParaRPr lang="es-CO"/>
        </a:p>
      </dgm:t>
    </dgm:pt>
    <dgm:pt modelId="{A17FBD07-B24B-4336-9582-D882CBB17098}" type="sibTrans" cxnId="{9A52626D-5D7D-49EC-8F73-E1B36A5C5A08}">
      <dgm:prSet/>
      <dgm:spPr/>
      <dgm:t>
        <a:bodyPr/>
        <a:lstStyle/>
        <a:p>
          <a:endParaRPr lang="es-CO"/>
        </a:p>
      </dgm:t>
    </dgm:pt>
    <dgm:pt modelId="{8F890EA0-F9F2-49EA-832C-10DB8FB6E90A}">
      <dgm:prSet custT="1"/>
      <dgm:spPr/>
      <dgm:t>
        <a:bodyPr/>
        <a:lstStyle/>
        <a:p>
          <a:r>
            <a:rPr lang="es-CO" sz="1600" dirty="0" smtClean="0"/>
            <a:t>Definir desde el MEN criterios para los costos de aprobación de licencias y programas. </a:t>
          </a:r>
          <a:r>
            <a:rPr lang="es-ES_tradnl" sz="1600" dirty="0" smtClean="0"/>
            <a:t>Regulación del sistema tarifario.</a:t>
          </a:r>
          <a:endParaRPr lang="es-CO" sz="1600" dirty="0"/>
        </a:p>
      </dgm:t>
    </dgm:pt>
    <dgm:pt modelId="{A295D24E-D5C4-4218-AE00-489E78EA5DC0}" type="parTrans" cxnId="{B61041D1-0E30-4430-8700-087129673946}">
      <dgm:prSet/>
      <dgm:spPr/>
      <dgm:t>
        <a:bodyPr/>
        <a:lstStyle/>
        <a:p>
          <a:endParaRPr lang="es-CO"/>
        </a:p>
      </dgm:t>
    </dgm:pt>
    <dgm:pt modelId="{54A86BF9-4A52-427F-BE04-5DB049230545}" type="sibTrans" cxnId="{B61041D1-0E30-4430-8700-087129673946}">
      <dgm:prSet/>
      <dgm:spPr/>
      <dgm:t>
        <a:bodyPr/>
        <a:lstStyle/>
        <a:p>
          <a:endParaRPr lang="es-CO"/>
        </a:p>
      </dgm:t>
    </dgm:pt>
    <dgm:pt modelId="{A33DF7D8-A4A1-496D-A4A9-9A75210CE308}" type="pres">
      <dgm:prSet presAssocID="{70E7E4ED-4075-4C79-892B-59713DE3656D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22506C53-30F8-45E1-B416-783B066C1506}" type="pres">
      <dgm:prSet presAssocID="{55554ABE-44B4-4DC6-BC6D-E31A8BACD25E}" presName="parentLin" presStyleCnt="0"/>
      <dgm:spPr/>
    </dgm:pt>
    <dgm:pt modelId="{6F991104-FBB9-4C1C-B94F-687D9CFE66D6}" type="pres">
      <dgm:prSet presAssocID="{55554ABE-44B4-4DC6-BC6D-E31A8BACD25E}" presName="parentLeftMargin" presStyleLbl="node1" presStyleIdx="0" presStyleCnt="2"/>
      <dgm:spPr/>
      <dgm:t>
        <a:bodyPr/>
        <a:lstStyle/>
        <a:p>
          <a:endParaRPr lang="es-CO"/>
        </a:p>
      </dgm:t>
    </dgm:pt>
    <dgm:pt modelId="{88404FA8-B4D7-447D-B689-71413C8507D3}" type="pres">
      <dgm:prSet presAssocID="{55554ABE-44B4-4DC6-BC6D-E31A8BACD25E}" presName="parentText" presStyleLbl="node1" presStyleIdx="0" presStyleCnt="2" custScaleX="136415" custScaleY="148202">
        <dgm:presLayoutVars>
          <dgm:chMax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FF7AFE2E-50F8-410E-90E0-D2A4B15299C9}" type="pres">
      <dgm:prSet presAssocID="{55554ABE-44B4-4DC6-BC6D-E31A8BACD25E}" presName="negativeSpace" presStyleCnt="0"/>
      <dgm:spPr/>
    </dgm:pt>
    <dgm:pt modelId="{25201B38-210A-4CF0-BBC3-2F6AF9919001}" type="pres">
      <dgm:prSet presAssocID="{55554ABE-44B4-4DC6-BC6D-E31A8BACD25E}" presName="childText" presStyleLbl="conFgAcc1" presStyleIdx="0" presStyleCnt="2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6AEC7D99-388E-40CA-B5A5-62F538891CEB}" type="pres">
      <dgm:prSet presAssocID="{06D8D9AA-2750-45CA-BEFB-A8C036D1CAB3}" presName="spaceBetweenRectangles" presStyleCnt="0"/>
      <dgm:spPr/>
    </dgm:pt>
    <dgm:pt modelId="{F65FB4CC-97F9-41BB-8373-EE757247C227}" type="pres">
      <dgm:prSet presAssocID="{12EB48E0-C150-476F-ADD2-2FF4CF160EA4}" presName="parentLin" presStyleCnt="0"/>
      <dgm:spPr/>
    </dgm:pt>
    <dgm:pt modelId="{D51BA9F0-AC00-47CF-A9F9-DC4506A528F3}" type="pres">
      <dgm:prSet presAssocID="{12EB48E0-C150-476F-ADD2-2FF4CF160EA4}" presName="parentLeftMargin" presStyleLbl="node1" presStyleIdx="0" presStyleCnt="2"/>
      <dgm:spPr/>
      <dgm:t>
        <a:bodyPr/>
        <a:lstStyle/>
        <a:p>
          <a:endParaRPr lang="es-CO"/>
        </a:p>
      </dgm:t>
    </dgm:pt>
    <dgm:pt modelId="{909719E4-304C-4342-816F-38263EC714D0}" type="pres">
      <dgm:prSet presAssocID="{12EB48E0-C150-476F-ADD2-2FF4CF160EA4}" presName="parentText" presStyleLbl="node1" presStyleIdx="1" presStyleCnt="2" custScaleY="165480">
        <dgm:presLayoutVars>
          <dgm:chMax val="0"/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FC4E9964-32B3-4DD2-AAE3-EBDFE6EB7D78}" type="pres">
      <dgm:prSet presAssocID="{12EB48E0-C150-476F-ADD2-2FF4CF160EA4}" presName="negativeSpace" presStyleCnt="0"/>
      <dgm:spPr/>
    </dgm:pt>
    <dgm:pt modelId="{3C4D1F82-F8F2-44D8-9A8B-792E9C62E2CF}" type="pres">
      <dgm:prSet presAssocID="{12EB48E0-C150-476F-ADD2-2FF4CF160EA4}" presName="childText" presStyleLbl="conFgAcc1" presStyleIdx="1" presStyleCnt="2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B61041D1-0E30-4430-8700-087129673946}" srcId="{12EB48E0-C150-476F-ADD2-2FF4CF160EA4}" destId="{8F890EA0-F9F2-49EA-832C-10DB8FB6E90A}" srcOrd="3" destOrd="0" parTransId="{A295D24E-D5C4-4218-AE00-489E78EA5DC0}" sibTransId="{54A86BF9-4A52-427F-BE04-5DB049230545}"/>
    <dgm:cxn modelId="{B56C87D0-BDDB-4FBA-9FD4-6A502DBE13EB}" type="presOf" srcId="{12EB48E0-C150-476F-ADD2-2FF4CF160EA4}" destId="{D51BA9F0-AC00-47CF-A9F9-DC4506A528F3}" srcOrd="0" destOrd="0" presId="urn:microsoft.com/office/officeart/2005/8/layout/list1"/>
    <dgm:cxn modelId="{D40797B6-AEBE-417C-A15B-ADFFE83B3BD9}" srcId="{12EB48E0-C150-476F-ADD2-2FF4CF160EA4}" destId="{E6F494A8-8B96-40B4-AF10-D1683F210D0A}" srcOrd="0" destOrd="0" parTransId="{C8B11C01-717B-4AC8-BE49-8AC895918EDB}" sibTransId="{D7793D13-5ED1-402E-A17C-BAA09DFCD660}"/>
    <dgm:cxn modelId="{1F2F74CF-0B73-4A7D-B994-5A8A27CB5EA1}" srcId="{55554ABE-44B4-4DC6-BC6D-E31A8BACD25E}" destId="{129460C4-69D5-4817-9B5E-DC367C31ABCC}" srcOrd="0" destOrd="0" parTransId="{BD404738-3E46-46DF-A54D-8A0A5A292A30}" sibTransId="{97E943D5-4C18-4D4B-8DA5-4359F675AF6A}"/>
    <dgm:cxn modelId="{7096931C-AEB3-465A-9F33-33AFB2D57251}" type="presOf" srcId="{E6F494A8-8B96-40B4-AF10-D1683F210D0A}" destId="{3C4D1F82-F8F2-44D8-9A8B-792E9C62E2CF}" srcOrd="0" destOrd="0" presId="urn:microsoft.com/office/officeart/2005/8/layout/list1"/>
    <dgm:cxn modelId="{84B3F892-622E-4971-97BF-DD02B736A8A4}" srcId="{70E7E4ED-4075-4C79-892B-59713DE3656D}" destId="{55554ABE-44B4-4DC6-BC6D-E31A8BACD25E}" srcOrd="0" destOrd="0" parTransId="{B4F2515C-AAA1-4781-B53E-1AA9D8B48237}" sibTransId="{06D8D9AA-2750-45CA-BEFB-A8C036D1CAB3}"/>
    <dgm:cxn modelId="{B4CFC436-7E15-42D8-92E3-C5CD4D2F6644}" type="presOf" srcId="{E744B138-D6F2-438B-B0B0-81485705EB5E}" destId="{25201B38-210A-4CF0-BBC3-2F6AF9919001}" srcOrd="0" destOrd="2" presId="urn:microsoft.com/office/officeart/2005/8/layout/list1"/>
    <dgm:cxn modelId="{E56F78F3-2DEA-48A9-9595-339ACA1D8A89}" type="presOf" srcId="{55554ABE-44B4-4DC6-BC6D-E31A8BACD25E}" destId="{88404FA8-B4D7-447D-B689-71413C8507D3}" srcOrd="1" destOrd="0" presId="urn:microsoft.com/office/officeart/2005/8/layout/list1"/>
    <dgm:cxn modelId="{2B04BAB5-6C1F-4E5B-B69E-E79FC2EC8D4D}" type="presOf" srcId="{DFC14308-FA15-4CC4-89D6-CCD10E869D40}" destId="{3C4D1F82-F8F2-44D8-9A8B-792E9C62E2CF}" srcOrd="0" destOrd="1" presId="urn:microsoft.com/office/officeart/2005/8/layout/list1"/>
    <dgm:cxn modelId="{CC9EC62C-8AAE-40C7-8A00-6817121ED429}" type="presOf" srcId="{8F890EA0-F9F2-49EA-832C-10DB8FB6E90A}" destId="{3C4D1F82-F8F2-44D8-9A8B-792E9C62E2CF}" srcOrd="0" destOrd="3" presId="urn:microsoft.com/office/officeart/2005/8/layout/list1"/>
    <dgm:cxn modelId="{F24E88E5-65ED-49CC-B0FA-BE79B27DE632}" srcId="{12EB48E0-C150-476F-ADD2-2FF4CF160EA4}" destId="{DFC14308-FA15-4CC4-89D6-CCD10E869D40}" srcOrd="1" destOrd="0" parTransId="{0EB2850C-DAC4-4536-9E3D-D3E0565A80FB}" sibTransId="{6FA488A1-D3AE-49D2-AEE0-C34255BCBF92}"/>
    <dgm:cxn modelId="{9A52626D-5D7D-49EC-8F73-E1B36A5C5A08}" srcId="{12EB48E0-C150-476F-ADD2-2FF4CF160EA4}" destId="{88FD43C4-6B12-498D-A039-4F2F62532A9D}" srcOrd="2" destOrd="0" parTransId="{7A9CD2ED-F43A-4AAC-9184-D86B452AE72B}" sibTransId="{A17FBD07-B24B-4336-9582-D882CBB17098}"/>
    <dgm:cxn modelId="{2342E131-3524-4411-979C-1AA3421D0F3A}" srcId="{70E7E4ED-4075-4C79-892B-59713DE3656D}" destId="{12EB48E0-C150-476F-ADD2-2FF4CF160EA4}" srcOrd="1" destOrd="0" parTransId="{E1478186-3752-42C7-B67A-AE9571627ED7}" sibTransId="{B8AA3DAE-7696-4937-9B6D-D9297B0ECE4C}"/>
    <dgm:cxn modelId="{0F5F4727-1D0E-4388-A1AB-4073FA3AB1CB}" type="presOf" srcId="{55554ABE-44B4-4DC6-BC6D-E31A8BACD25E}" destId="{6F991104-FBB9-4C1C-B94F-687D9CFE66D6}" srcOrd="0" destOrd="0" presId="urn:microsoft.com/office/officeart/2005/8/layout/list1"/>
    <dgm:cxn modelId="{BFC17F6C-DAA0-4BD4-BF79-4B660CD1B705}" type="presOf" srcId="{12EB48E0-C150-476F-ADD2-2FF4CF160EA4}" destId="{909719E4-304C-4342-816F-38263EC714D0}" srcOrd="1" destOrd="0" presId="urn:microsoft.com/office/officeart/2005/8/layout/list1"/>
    <dgm:cxn modelId="{9D848814-34AB-4620-BEF8-B43A368A7AE9}" type="presOf" srcId="{083CD770-C244-486D-89E9-C5F90B2FD230}" destId="{25201B38-210A-4CF0-BBC3-2F6AF9919001}" srcOrd="0" destOrd="1" presId="urn:microsoft.com/office/officeart/2005/8/layout/list1"/>
    <dgm:cxn modelId="{CDE41196-C011-44E8-BDC9-B4A50AC2144F}" srcId="{55554ABE-44B4-4DC6-BC6D-E31A8BACD25E}" destId="{E744B138-D6F2-438B-B0B0-81485705EB5E}" srcOrd="2" destOrd="0" parTransId="{9777F485-A9E6-41DB-A113-B53A73EBC1F4}" sibTransId="{B2EB0E97-9825-4A24-939F-7B092A7EE898}"/>
    <dgm:cxn modelId="{A83CF600-097C-465E-8662-5F29D90816AB}" srcId="{55554ABE-44B4-4DC6-BC6D-E31A8BACD25E}" destId="{083CD770-C244-486D-89E9-C5F90B2FD230}" srcOrd="1" destOrd="0" parTransId="{00630870-C587-45C9-8D18-B4E557423070}" sibTransId="{8A792318-9A1B-497A-BC7E-89B184D28085}"/>
    <dgm:cxn modelId="{B9BC7307-0634-4189-8C41-5179D848E0C3}" type="presOf" srcId="{88FD43C4-6B12-498D-A039-4F2F62532A9D}" destId="{3C4D1F82-F8F2-44D8-9A8B-792E9C62E2CF}" srcOrd="0" destOrd="2" presId="urn:microsoft.com/office/officeart/2005/8/layout/list1"/>
    <dgm:cxn modelId="{152B603D-734B-4706-97E1-3D4086D0B925}" type="presOf" srcId="{129460C4-69D5-4817-9B5E-DC367C31ABCC}" destId="{25201B38-210A-4CF0-BBC3-2F6AF9919001}" srcOrd="0" destOrd="0" presId="urn:microsoft.com/office/officeart/2005/8/layout/list1"/>
    <dgm:cxn modelId="{8E0D7091-761F-4790-B2BF-07EBA4847042}" type="presOf" srcId="{70E7E4ED-4075-4C79-892B-59713DE3656D}" destId="{A33DF7D8-A4A1-496D-A4A9-9A75210CE308}" srcOrd="0" destOrd="0" presId="urn:microsoft.com/office/officeart/2005/8/layout/list1"/>
    <dgm:cxn modelId="{D7C6646D-C571-44CB-9609-88D32F9144BC}" type="presParOf" srcId="{A33DF7D8-A4A1-496D-A4A9-9A75210CE308}" destId="{22506C53-30F8-45E1-B416-783B066C1506}" srcOrd="0" destOrd="0" presId="urn:microsoft.com/office/officeart/2005/8/layout/list1"/>
    <dgm:cxn modelId="{2F5D7AE7-8BCD-47E7-B7BB-86EAC3C38BE6}" type="presParOf" srcId="{22506C53-30F8-45E1-B416-783B066C1506}" destId="{6F991104-FBB9-4C1C-B94F-687D9CFE66D6}" srcOrd="0" destOrd="0" presId="urn:microsoft.com/office/officeart/2005/8/layout/list1"/>
    <dgm:cxn modelId="{69F28BC4-3A18-4255-B831-869E9CA099A9}" type="presParOf" srcId="{22506C53-30F8-45E1-B416-783B066C1506}" destId="{88404FA8-B4D7-447D-B689-71413C8507D3}" srcOrd="1" destOrd="0" presId="urn:microsoft.com/office/officeart/2005/8/layout/list1"/>
    <dgm:cxn modelId="{8DF2E8BD-58F2-4A54-A223-F5F3A8D5385C}" type="presParOf" srcId="{A33DF7D8-A4A1-496D-A4A9-9A75210CE308}" destId="{FF7AFE2E-50F8-410E-90E0-D2A4B15299C9}" srcOrd="1" destOrd="0" presId="urn:microsoft.com/office/officeart/2005/8/layout/list1"/>
    <dgm:cxn modelId="{4BFED9D0-CDBB-40B0-B1FD-D69E5A9CC6F9}" type="presParOf" srcId="{A33DF7D8-A4A1-496D-A4A9-9A75210CE308}" destId="{25201B38-210A-4CF0-BBC3-2F6AF9919001}" srcOrd="2" destOrd="0" presId="urn:microsoft.com/office/officeart/2005/8/layout/list1"/>
    <dgm:cxn modelId="{768A012D-89D0-45EC-A245-DB67BBF00332}" type="presParOf" srcId="{A33DF7D8-A4A1-496D-A4A9-9A75210CE308}" destId="{6AEC7D99-388E-40CA-B5A5-62F538891CEB}" srcOrd="3" destOrd="0" presId="urn:microsoft.com/office/officeart/2005/8/layout/list1"/>
    <dgm:cxn modelId="{DE717AA6-416E-4D27-9373-4EFAEC8DDA79}" type="presParOf" srcId="{A33DF7D8-A4A1-496D-A4A9-9A75210CE308}" destId="{F65FB4CC-97F9-41BB-8373-EE757247C227}" srcOrd="4" destOrd="0" presId="urn:microsoft.com/office/officeart/2005/8/layout/list1"/>
    <dgm:cxn modelId="{38F94FE6-02B1-46F8-BAAB-F05159A92F25}" type="presParOf" srcId="{F65FB4CC-97F9-41BB-8373-EE757247C227}" destId="{D51BA9F0-AC00-47CF-A9F9-DC4506A528F3}" srcOrd="0" destOrd="0" presId="urn:microsoft.com/office/officeart/2005/8/layout/list1"/>
    <dgm:cxn modelId="{A35F20AD-E7A1-4B44-A062-66A1DE036BFC}" type="presParOf" srcId="{F65FB4CC-97F9-41BB-8373-EE757247C227}" destId="{909719E4-304C-4342-816F-38263EC714D0}" srcOrd="1" destOrd="0" presId="urn:microsoft.com/office/officeart/2005/8/layout/list1"/>
    <dgm:cxn modelId="{66134D27-6DBC-4112-A2B6-34ECFC394E2D}" type="presParOf" srcId="{A33DF7D8-A4A1-496D-A4A9-9A75210CE308}" destId="{FC4E9964-32B3-4DD2-AAE3-EBDFE6EB7D78}" srcOrd="5" destOrd="0" presId="urn:microsoft.com/office/officeart/2005/8/layout/list1"/>
    <dgm:cxn modelId="{F1CE6D1F-A0B2-42CC-921E-7088E8B8FDB3}" type="presParOf" srcId="{A33DF7D8-A4A1-496D-A4A9-9A75210CE308}" destId="{3C4D1F82-F8F2-44D8-9A8B-792E9C62E2CF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AC37217A-60E8-4486-91D3-00ABFF0C9208}">
      <dsp:nvSpPr>
        <dsp:cNvPr id="0" name=""/>
        <dsp:cNvSpPr/>
      </dsp:nvSpPr>
      <dsp:spPr>
        <a:xfrm>
          <a:off x="3351" y="232500"/>
          <a:ext cx="1714430" cy="76848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576" tIns="58420" rIns="163576" bIns="5842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300" kern="1200" dirty="0" smtClean="0"/>
            <a:t>Ubicación de la oferta</a:t>
          </a:r>
          <a:endParaRPr lang="es-CO" sz="2300" kern="1200" dirty="0"/>
        </a:p>
      </dsp:txBody>
      <dsp:txXfrm>
        <a:off x="3351" y="232500"/>
        <a:ext cx="1714430" cy="768487"/>
      </dsp:txXfrm>
    </dsp:sp>
    <dsp:sp modelId="{2A249A0F-2B19-4081-B596-AFEEFB00AEC6}">
      <dsp:nvSpPr>
        <dsp:cNvPr id="0" name=""/>
        <dsp:cNvSpPr/>
      </dsp:nvSpPr>
      <dsp:spPr>
        <a:xfrm>
          <a:off x="1717781" y="172462"/>
          <a:ext cx="342886" cy="888563"/>
        </a:xfrm>
        <a:prstGeom prst="leftBrace">
          <a:avLst>
            <a:gd name="adj1" fmla="val 35000"/>
            <a:gd name="adj2" fmla="val 50000"/>
          </a:avLst>
        </a:prstGeom>
        <a:noFill/>
        <a:ln w="1587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3C88672-20D1-4CF1-8191-18C470C93209}">
      <dsp:nvSpPr>
        <dsp:cNvPr id="0" name=""/>
        <dsp:cNvSpPr/>
      </dsp:nvSpPr>
      <dsp:spPr>
        <a:xfrm>
          <a:off x="2197822" y="172462"/>
          <a:ext cx="4663249" cy="888563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20000"/>
                <a:satMod val="180000"/>
                <a:lumMod val="98000"/>
              </a:schemeClr>
            </a:gs>
            <a:gs pos="40000">
              <a:schemeClr val="accent2">
                <a:hueOff val="0"/>
                <a:satOff val="0"/>
                <a:lumOff val="0"/>
                <a:alphaOff val="0"/>
                <a:tint val="30000"/>
                <a:satMod val="260000"/>
                <a:lumMod val="84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00000"/>
                <a:satMod val="110000"/>
                <a:lumMod val="100000"/>
              </a:schemeClr>
            </a:gs>
          </a:gsLst>
          <a:lin ang="5040000" scaled="1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2300" kern="1200" dirty="0" smtClean="0"/>
            <a:t>Alternativo a la educación superior. </a:t>
          </a:r>
          <a:endParaRPr lang="es-CO" sz="2300" kern="1200" dirty="0"/>
        </a:p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2300" kern="1200" smtClean="0"/>
            <a:t>Educación a lo largo de la vida.</a:t>
          </a:r>
          <a:endParaRPr lang="es-CO" sz="2300" kern="1200" dirty="0"/>
        </a:p>
      </dsp:txBody>
      <dsp:txXfrm>
        <a:off x="2197822" y="172462"/>
        <a:ext cx="4663249" cy="888563"/>
      </dsp:txXfrm>
    </dsp:sp>
    <dsp:sp modelId="{48BF8545-62FB-48D0-BF6C-B1E5382DA192}">
      <dsp:nvSpPr>
        <dsp:cNvPr id="0" name=""/>
        <dsp:cNvSpPr/>
      </dsp:nvSpPr>
      <dsp:spPr>
        <a:xfrm>
          <a:off x="3351" y="1177624"/>
          <a:ext cx="1714430" cy="108157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576" tIns="58420" rIns="163576" bIns="5842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300" kern="1200" dirty="0" smtClean="0"/>
            <a:t>Modelos de formación</a:t>
          </a:r>
          <a:endParaRPr lang="es-CO" sz="2300" kern="1200" dirty="0"/>
        </a:p>
      </dsp:txBody>
      <dsp:txXfrm>
        <a:off x="3351" y="1177624"/>
        <a:ext cx="1714430" cy="1081575"/>
      </dsp:txXfrm>
    </dsp:sp>
    <dsp:sp modelId="{F6011C12-C47D-48F7-AA89-AACEE724CC0F}">
      <dsp:nvSpPr>
        <dsp:cNvPr id="0" name=""/>
        <dsp:cNvSpPr/>
      </dsp:nvSpPr>
      <dsp:spPr>
        <a:xfrm>
          <a:off x="1717781" y="1143825"/>
          <a:ext cx="342886" cy="1149173"/>
        </a:xfrm>
        <a:prstGeom prst="leftBrace">
          <a:avLst>
            <a:gd name="adj1" fmla="val 35000"/>
            <a:gd name="adj2" fmla="val 50000"/>
          </a:avLst>
        </a:prstGeom>
        <a:noFill/>
        <a:ln w="1587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FA7EAD1-296E-40CD-93AE-D6CD3F8417E2}">
      <dsp:nvSpPr>
        <dsp:cNvPr id="0" name=""/>
        <dsp:cNvSpPr/>
      </dsp:nvSpPr>
      <dsp:spPr>
        <a:xfrm>
          <a:off x="2197822" y="1143825"/>
          <a:ext cx="4663249" cy="1149173"/>
        </a:xfrm>
        <a:prstGeom prst="rect">
          <a:avLst/>
        </a:prstGeom>
        <a:gradFill rotWithShape="0">
          <a:gsLst>
            <a:gs pos="0">
              <a:schemeClr val="accent2">
                <a:hueOff val="1560506"/>
                <a:satOff val="-1946"/>
                <a:lumOff val="458"/>
                <a:alphaOff val="0"/>
                <a:tint val="20000"/>
                <a:satMod val="180000"/>
                <a:lumMod val="98000"/>
              </a:schemeClr>
            </a:gs>
            <a:gs pos="40000">
              <a:schemeClr val="accent2">
                <a:hueOff val="1560506"/>
                <a:satOff val="-1946"/>
                <a:lumOff val="458"/>
                <a:alphaOff val="0"/>
                <a:tint val="30000"/>
                <a:satMod val="260000"/>
                <a:lumMod val="84000"/>
              </a:schemeClr>
            </a:gs>
            <a:gs pos="100000">
              <a:schemeClr val="accent2">
                <a:hueOff val="1560506"/>
                <a:satOff val="-1946"/>
                <a:lumOff val="458"/>
                <a:alphaOff val="0"/>
                <a:tint val="100000"/>
                <a:satMod val="110000"/>
                <a:lumMod val="100000"/>
              </a:schemeClr>
            </a:gs>
          </a:gsLst>
          <a:lin ang="5040000" scaled="1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2300" kern="1200" smtClean="0"/>
            <a:t>Competencias vocacionales para la vida y para el crecimiento económico.</a:t>
          </a:r>
          <a:endParaRPr lang="es-CO" sz="2300" kern="1200" dirty="0"/>
        </a:p>
      </dsp:txBody>
      <dsp:txXfrm>
        <a:off x="2197822" y="1143825"/>
        <a:ext cx="4663249" cy="1149173"/>
      </dsp:txXfrm>
    </dsp:sp>
    <dsp:sp modelId="{3A7A7695-5B13-450E-98E6-6395BDCAAF31}">
      <dsp:nvSpPr>
        <dsp:cNvPr id="0" name=""/>
        <dsp:cNvSpPr/>
      </dsp:nvSpPr>
      <dsp:spPr>
        <a:xfrm>
          <a:off x="3351" y="2375799"/>
          <a:ext cx="1714430" cy="76848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576" tIns="58420" rIns="163576" bIns="5842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300" kern="1200" dirty="0" smtClean="0"/>
            <a:t>Población objetivo</a:t>
          </a:r>
          <a:endParaRPr lang="es-CO" sz="2300" kern="1200" dirty="0"/>
        </a:p>
      </dsp:txBody>
      <dsp:txXfrm>
        <a:off x="3351" y="2375799"/>
        <a:ext cx="1714430" cy="768487"/>
      </dsp:txXfrm>
    </dsp:sp>
    <dsp:sp modelId="{2F54AE2C-DE06-438F-A8AA-DDE061E301AA}">
      <dsp:nvSpPr>
        <dsp:cNvPr id="0" name=""/>
        <dsp:cNvSpPr/>
      </dsp:nvSpPr>
      <dsp:spPr>
        <a:xfrm>
          <a:off x="1717781" y="2375799"/>
          <a:ext cx="342886" cy="768487"/>
        </a:xfrm>
        <a:prstGeom prst="leftBrace">
          <a:avLst>
            <a:gd name="adj1" fmla="val 35000"/>
            <a:gd name="adj2" fmla="val 50000"/>
          </a:avLst>
        </a:prstGeom>
        <a:noFill/>
        <a:ln w="1587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5E5D75E-3B36-4A58-8BE9-931EF235A6E1}">
      <dsp:nvSpPr>
        <dsp:cNvPr id="0" name=""/>
        <dsp:cNvSpPr/>
      </dsp:nvSpPr>
      <dsp:spPr>
        <a:xfrm>
          <a:off x="2197822" y="2375799"/>
          <a:ext cx="4663249" cy="768487"/>
        </a:xfrm>
        <a:prstGeom prst="rect">
          <a:avLst/>
        </a:prstGeom>
        <a:gradFill rotWithShape="0">
          <a:gsLst>
            <a:gs pos="0">
              <a:schemeClr val="accent2">
                <a:hueOff val="3121013"/>
                <a:satOff val="-3893"/>
                <a:lumOff val="915"/>
                <a:alphaOff val="0"/>
                <a:tint val="20000"/>
                <a:satMod val="180000"/>
                <a:lumMod val="98000"/>
              </a:schemeClr>
            </a:gs>
            <a:gs pos="40000">
              <a:schemeClr val="accent2">
                <a:hueOff val="3121013"/>
                <a:satOff val="-3893"/>
                <a:lumOff val="915"/>
                <a:alphaOff val="0"/>
                <a:tint val="30000"/>
                <a:satMod val="260000"/>
                <a:lumMod val="84000"/>
              </a:schemeClr>
            </a:gs>
            <a:gs pos="100000">
              <a:schemeClr val="accent2">
                <a:hueOff val="3121013"/>
                <a:satOff val="-3893"/>
                <a:lumOff val="915"/>
                <a:alphaOff val="0"/>
                <a:tint val="100000"/>
                <a:satMod val="110000"/>
                <a:lumMod val="100000"/>
              </a:schemeClr>
            </a:gs>
          </a:gsLst>
          <a:lin ang="5040000" scaled="1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2300" kern="1200" smtClean="0"/>
            <a:t>Adolescentes y adultos.</a:t>
          </a:r>
          <a:endParaRPr lang="es-CO" sz="2300" kern="1200" dirty="0"/>
        </a:p>
      </dsp:txBody>
      <dsp:txXfrm>
        <a:off x="2197822" y="2375799"/>
        <a:ext cx="4663249" cy="768487"/>
      </dsp:txXfrm>
    </dsp:sp>
    <dsp:sp modelId="{3265399B-BC14-49E3-9B65-605C20A0A563}">
      <dsp:nvSpPr>
        <dsp:cNvPr id="0" name=""/>
        <dsp:cNvSpPr/>
      </dsp:nvSpPr>
      <dsp:spPr>
        <a:xfrm>
          <a:off x="3351" y="3419208"/>
          <a:ext cx="1714430" cy="768487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63576" tIns="58420" rIns="163576" bIns="58420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300" kern="1200" dirty="0" smtClean="0"/>
            <a:t>Entidad encargada</a:t>
          </a:r>
          <a:endParaRPr lang="es-CO" sz="2300" kern="1200" dirty="0"/>
        </a:p>
      </dsp:txBody>
      <dsp:txXfrm>
        <a:off x="3351" y="3419208"/>
        <a:ext cx="1714430" cy="768487"/>
      </dsp:txXfrm>
    </dsp:sp>
    <dsp:sp modelId="{22B9FB7D-296D-44AE-9DD2-23A0D7AF4879}">
      <dsp:nvSpPr>
        <dsp:cNvPr id="0" name=""/>
        <dsp:cNvSpPr/>
      </dsp:nvSpPr>
      <dsp:spPr>
        <a:xfrm>
          <a:off x="1717781" y="3227086"/>
          <a:ext cx="342886" cy="1152731"/>
        </a:xfrm>
        <a:prstGeom prst="leftBrace">
          <a:avLst>
            <a:gd name="adj1" fmla="val 35000"/>
            <a:gd name="adj2" fmla="val 50000"/>
          </a:avLst>
        </a:prstGeom>
        <a:noFill/>
        <a:ln w="1587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F9952F8-B1A9-4540-925B-0EC7C52AAA8E}">
      <dsp:nvSpPr>
        <dsp:cNvPr id="0" name=""/>
        <dsp:cNvSpPr/>
      </dsp:nvSpPr>
      <dsp:spPr>
        <a:xfrm>
          <a:off x="2197822" y="3227086"/>
          <a:ext cx="4663249" cy="1152731"/>
        </a:xfrm>
        <a:prstGeom prst="rect">
          <a:avLst/>
        </a:prstGeom>
        <a:gradFill rotWithShape="0">
          <a:gsLst>
            <a:gs pos="0">
              <a:schemeClr val="accent2">
                <a:hueOff val="4681519"/>
                <a:satOff val="-5839"/>
                <a:lumOff val="1373"/>
                <a:alphaOff val="0"/>
                <a:tint val="20000"/>
                <a:satMod val="180000"/>
                <a:lumMod val="98000"/>
              </a:schemeClr>
            </a:gs>
            <a:gs pos="40000">
              <a:schemeClr val="accent2">
                <a:hueOff val="4681519"/>
                <a:satOff val="-5839"/>
                <a:lumOff val="1373"/>
                <a:alphaOff val="0"/>
                <a:tint val="30000"/>
                <a:satMod val="260000"/>
                <a:lumMod val="84000"/>
              </a:schemeClr>
            </a:gs>
            <a:gs pos="100000">
              <a:schemeClr val="accent2">
                <a:hueOff val="4681519"/>
                <a:satOff val="-5839"/>
                <a:lumOff val="1373"/>
                <a:alphaOff val="0"/>
                <a:tint val="100000"/>
                <a:satMod val="110000"/>
                <a:lumMod val="100000"/>
              </a:schemeClr>
            </a:gs>
          </a:gsLst>
          <a:lin ang="5040000" scaled="1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87630" tIns="87630" rIns="87630" bIns="87630" numCol="1" spcCol="1270" anchor="ctr" anchorCtr="0">
          <a:noAutofit/>
        </a:bodyPr>
        <a:lstStyle/>
        <a:p>
          <a:pPr marL="228600" lvl="1" indent="-228600" algn="l" defTabSz="10223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2300" kern="1200" dirty="0" smtClean="0"/>
            <a:t>Ministerio de Educación Nacional u organismos especializados en competencias.</a:t>
          </a:r>
          <a:endParaRPr lang="es-CO" sz="2300" kern="1200" dirty="0"/>
        </a:p>
      </dsp:txBody>
      <dsp:txXfrm>
        <a:off x="2197822" y="3227086"/>
        <a:ext cx="4663249" cy="1152731"/>
      </dsp:txXfrm>
    </dsp:sp>
  </dsp:spTree>
</dsp:drawing>
</file>

<file path=ppt/diagrams/drawing10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D05F1998-5B9B-4903-B3B0-4FFFD5085673}">
      <dsp:nvSpPr>
        <dsp:cNvPr id="0" name=""/>
        <dsp:cNvSpPr/>
      </dsp:nvSpPr>
      <dsp:spPr>
        <a:xfrm>
          <a:off x="0" y="252721"/>
          <a:ext cx="7416824" cy="1488374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5628" tIns="874776" rIns="575628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600" kern="1200" dirty="0" smtClean="0"/>
            <a:t>Incentivar la Certificación de Calidad.</a:t>
          </a:r>
          <a:endParaRPr lang="es-CO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_tradnl" sz="1600" kern="1200" dirty="0" smtClean="0"/>
            <a:t>Estímulos a los estudiantes que participan en este tipo de formación.</a:t>
          </a:r>
          <a:endParaRPr lang="es-CO" sz="1600" kern="1200" dirty="0"/>
        </a:p>
      </dsp:txBody>
      <dsp:txXfrm>
        <a:off x="0" y="252721"/>
        <a:ext cx="7416824" cy="1488374"/>
      </dsp:txXfrm>
    </dsp:sp>
    <dsp:sp modelId="{6E6C57BF-2106-4A02-9A95-C2FCD12292EA}">
      <dsp:nvSpPr>
        <dsp:cNvPr id="0" name=""/>
        <dsp:cNvSpPr/>
      </dsp:nvSpPr>
      <dsp:spPr>
        <a:xfrm>
          <a:off x="370841" y="5758"/>
          <a:ext cx="5191776" cy="866883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6237" tIns="0" rIns="196237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b="1" kern="1200" dirty="0" smtClean="0">
              <a:solidFill>
                <a:srgbClr val="C00000"/>
              </a:solidFill>
            </a:rPr>
            <a:t>INCENTIVOS</a:t>
          </a:r>
          <a:endParaRPr lang="es-CO" sz="1800" b="1" kern="1200" dirty="0">
            <a:solidFill>
              <a:srgbClr val="C00000"/>
            </a:solidFill>
          </a:endParaRPr>
        </a:p>
      </dsp:txBody>
      <dsp:txXfrm>
        <a:off x="370841" y="5758"/>
        <a:ext cx="5191776" cy="866883"/>
      </dsp:txXfrm>
    </dsp:sp>
    <dsp:sp modelId="{CA190715-518D-4A45-8E5D-1E4D58CFF52A}">
      <dsp:nvSpPr>
        <dsp:cNvPr id="0" name=""/>
        <dsp:cNvSpPr/>
      </dsp:nvSpPr>
      <dsp:spPr>
        <a:xfrm>
          <a:off x="0" y="2160239"/>
          <a:ext cx="7416824" cy="2017575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5628" tIns="874776" rIns="575628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_tradnl" sz="1600" kern="1200" dirty="0" smtClean="0"/>
            <a:t>Creación de estrategias de mercado, necesidades y requerimientos.</a:t>
          </a:r>
          <a:endParaRPr lang="es-CO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600" kern="1200" dirty="0" smtClean="0"/>
            <a:t>Sistema Nacional de Acreditación análogo al de Educación Superior</a:t>
          </a:r>
          <a:endParaRPr lang="es-CO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600" kern="1200" dirty="0" smtClean="0"/>
            <a:t>Fortalecer las Redes Nacionales e Internacionales</a:t>
          </a:r>
          <a:endParaRPr lang="es-CO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600" kern="1200" dirty="0" smtClean="0"/>
            <a:t>Contar con respaldo de plataforma virtual</a:t>
          </a:r>
          <a:endParaRPr lang="es-CO" sz="1600" kern="1200" dirty="0"/>
        </a:p>
      </dsp:txBody>
      <dsp:txXfrm>
        <a:off x="0" y="2160239"/>
        <a:ext cx="7416824" cy="2017575"/>
      </dsp:txXfrm>
    </dsp:sp>
    <dsp:sp modelId="{8ADE97C1-A072-4A1F-98D0-3D1F6709BE99}">
      <dsp:nvSpPr>
        <dsp:cNvPr id="0" name=""/>
        <dsp:cNvSpPr/>
      </dsp:nvSpPr>
      <dsp:spPr>
        <a:xfrm>
          <a:off x="370841" y="1967896"/>
          <a:ext cx="5191776" cy="877162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96237" tIns="0" rIns="196237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b="1" kern="1200" dirty="0" smtClean="0">
              <a:solidFill>
                <a:srgbClr val="C00000"/>
              </a:solidFill>
            </a:rPr>
            <a:t>OTROS </a:t>
          </a:r>
          <a:endParaRPr lang="es-CO" sz="1800" b="1" kern="1200" dirty="0">
            <a:solidFill>
              <a:srgbClr val="C00000"/>
            </a:solidFill>
          </a:endParaRPr>
        </a:p>
      </dsp:txBody>
      <dsp:txXfrm>
        <a:off x="370841" y="1967896"/>
        <a:ext cx="5191776" cy="877162"/>
      </dsp:txXfrm>
    </dsp:sp>
  </dsp:spTree>
</dsp:drawing>
</file>

<file path=ppt/diagrams/drawing1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D05F1998-5B9B-4903-B3B0-4FFFD5085673}">
      <dsp:nvSpPr>
        <dsp:cNvPr id="0" name=""/>
        <dsp:cNvSpPr/>
      </dsp:nvSpPr>
      <dsp:spPr>
        <a:xfrm>
          <a:off x="0" y="209343"/>
          <a:ext cx="8172400" cy="4687200"/>
        </a:xfrm>
        <a:prstGeom prst="rect">
          <a:avLst/>
        </a:prstGeom>
        <a:solidFill>
          <a:schemeClr val="accent3">
            <a:lumMod val="40000"/>
            <a:lumOff val="60000"/>
            <a:alpha val="9000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34269" tIns="645668" rIns="634269" bIns="170688" numCol="1" spcCol="1270" anchor="t" anchorCtr="0">
          <a:noAutofit/>
        </a:bodyPr>
        <a:lstStyle/>
        <a:p>
          <a:pPr marL="228600" lvl="1" indent="-228600" algn="just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2400" kern="1200" dirty="0" smtClean="0"/>
            <a:t>Hacer un estudio particular sobre la forma como las SEC asumen el papel de la educación para el Trabajo y el Desarrollo Humano.</a:t>
          </a:r>
          <a:endParaRPr lang="es-CO" sz="2400" kern="1200" dirty="0"/>
        </a:p>
        <a:p>
          <a:pPr marL="228600" lvl="1" indent="-228600" algn="just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_tradnl" sz="2400" kern="1200" dirty="0" smtClean="0"/>
            <a:t>Conocer la percepción de las Instituciones de Educación para el Trabajo y el Desarrollo Humano sobre sus necesidades y requerimientos frente a las SEC.</a:t>
          </a:r>
          <a:endParaRPr lang="es-CO" sz="2400" kern="1200" dirty="0"/>
        </a:p>
        <a:p>
          <a:pPr marL="228600" lvl="1" indent="-228600" algn="just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2400" kern="1200" dirty="0" smtClean="0"/>
            <a:t>Contratar al Politécnico Jaime </a:t>
          </a:r>
          <a:r>
            <a:rPr lang="es-CO" sz="2400" kern="1200" dirty="0" err="1" smtClean="0"/>
            <a:t>Isaza</a:t>
          </a:r>
          <a:r>
            <a:rPr lang="es-CO" sz="2400" kern="1200" dirty="0" smtClean="0"/>
            <a:t> </a:t>
          </a:r>
          <a:r>
            <a:rPr lang="es-CO" sz="2400" kern="1200" dirty="0" err="1" smtClean="0"/>
            <a:t>Cadavid</a:t>
          </a:r>
          <a:r>
            <a:rPr lang="es-CO" sz="2400" kern="1200" dirty="0" smtClean="0"/>
            <a:t> para practicar un rápido estudio particular.</a:t>
          </a:r>
          <a:endParaRPr lang="es-CO" sz="2400" kern="1200" dirty="0"/>
        </a:p>
        <a:p>
          <a:pPr marL="228600" lvl="1" indent="-228600" algn="just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2400" kern="1200" dirty="0" smtClean="0"/>
            <a:t>Tomar una muestra de 50 SEC y hacer un levantamiento de información.</a:t>
          </a:r>
          <a:endParaRPr lang="es-CO" sz="2400" kern="1200" dirty="0"/>
        </a:p>
      </dsp:txBody>
      <dsp:txXfrm>
        <a:off x="0" y="209343"/>
        <a:ext cx="8172400" cy="4687200"/>
      </dsp:txXfrm>
    </dsp:sp>
    <dsp:sp modelId="{6E6C57BF-2106-4A02-9A95-C2FCD12292EA}">
      <dsp:nvSpPr>
        <dsp:cNvPr id="0" name=""/>
        <dsp:cNvSpPr/>
      </dsp:nvSpPr>
      <dsp:spPr>
        <a:xfrm>
          <a:off x="408620" y="13530"/>
          <a:ext cx="5720680" cy="639842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6228" tIns="0" rIns="216228" bIns="0" numCol="1" spcCol="1270" anchor="ctr" anchorCtr="0">
          <a:noAutofit/>
        </a:bodyPr>
        <a:lstStyle/>
        <a:p>
          <a:pPr lvl="0" algn="just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400" b="1" kern="1200" dirty="0" smtClean="0">
              <a:solidFill>
                <a:srgbClr val="C00000"/>
              </a:solidFill>
            </a:rPr>
            <a:t>REQUERIMIENTO INMEDIATO</a:t>
          </a:r>
          <a:endParaRPr lang="es-CO" sz="2400" b="1" kern="1200" dirty="0">
            <a:solidFill>
              <a:srgbClr val="C00000"/>
            </a:solidFill>
          </a:endParaRPr>
        </a:p>
      </dsp:txBody>
      <dsp:txXfrm>
        <a:off x="408620" y="13530"/>
        <a:ext cx="5720680" cy="639842"/>
      </dsp:txXfrm>
    </dsp:sp>
  </dsp:spTree>
</dsp:drawing>
</file>

<file path=ppt/diagrams/drawing1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B55BBA38-2254-4A59-9E04-DB39C12D15C4}">
      <dsp:nvSpPr>
        <dsp:cNvPr id="0" name=""/>
        <dsp:cNvSpPr/>
      </dsp:nvSpPr>
      <dsp:spPr>
        <a:xfrm>
          <a:off x="0" y="0"/>
          <a:ext cx="7344816" cy="4552280"/>
        </a:xfrm>
        <a:prstGeom prst="roundRect">
          <a:avLst>
            <a:gd name="adj" fmla="val 85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3533075" numCol="1" spcCol="1270" anchor="t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400" b="1" kern="1200" dirty="0" smtClean="0"/>
            <a:t>CONSOLIDAR SISTEMA NAL DE FORMACION PARA EL TRABAJO</a:t>
          </a:r>
          <a:endParaRPr lang="es-CO" sz="2400" b="1" kern="1200" dirty="0"/>
        </a:p>
      </dsp:txBody>
      <dsp:txXfrm>
        <a:off x="0" y="0"/>
        <a:ext cx="7344816" cy="4552280"/>
      </dsp:txXfrm>
    </dsp:sp>
    <dsp:sp modelId="{6D2B9C93-B706-4F21-AEF6-0B821D696614}">
      <dsp:nvSpPr>
        <dsp:cNvPr id="0" name=""/>
        <dsp:cNvSpPr/>
      </dsp:nvSpPr>
      <dsp:spPr>
        <a:xfrm>
          <a:off x="100809" y="1138070"/>
          <a:ext cx="1267344" cy="776421"/>
        </a:xfrm>
        <a:prstGeom prst="roundRect">
          <a:avLst>
            <a:gd name="adj" fmla="val 105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200" kern="1200" dirty="0" smtClean="0"/>
            <a:t> IMAGEN  NAL E INTERNACIONAL</a:t>
          </a:r>
          <a:endParaRPr lang="es-CO" sz="1200" kern="1200" dirty="0"/>
        </a:p>
      </dsp:txBody>
      <dsp:txXfrm>
        <a:off x="100809" y="1138070"/>
        <a:ext cx="1267344" cy="776421"/>
      </dsp:txXfrm>
    </dsp:sp>
    <dsp:sp modelId="{49691B06-75CD-423F-9244-B90D7475B158}">
      <dsp:nvSpPr>
        <dsp:cNvPr id="0" name=""/>
        <dsp:cNvSpPr/>
      </dsp:nvSpPr>
      <dsp:spPr>
        <a:xfrm>
          <a:off x="100809" y="1876804"/>
          <a:ext cx="1267344" cy="776421"/>
        </a:xfrm>
        <a:prstGeom prst="roundRect">
          <a:avLst>
            <a:gd name="adj" fmla="val 105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hueOff val="585190"/>
              <a:satOff val="-730"/>
              <a:lumOff val="172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200" kern="1200" dirty="0" smtClean="0"/>
            <a:t>INSTITUCIONES DE ALTA CALIDAD</a:t>
          </a:r>
          <a:endParaRPr lang="es-CO" sz="1200" kern="1200" dirty="0"/>
        </a:p>
      </dsp:txBody>
      <dsp:txXfrm>
        <a:off x="100809" y="1876804"/>
        <a:ext cx="1267344" cy="776421"/>
      </dsp:txXfrm>
    </dsp:sp>
    <dsp:sp modelId="{7BD0240E-FE3D-4DDF-AF35-823A576EDD09}">
      <dsp:nvSpPr>
        <dsp:cNvPr id="0" name=""/>
        <dsp:cNvSpPr/>
      </dsp:nvSpPr>
      <dsp:spPr>
        <a:xfrm>
          <a:off x="100809" y="2680069"/>
          <a:ext cx="1267344" cy="776421"/>
        </a:xfrm>
        <a:prstGeom prst="roundRect">
          <a:avLst>
            <a:gd name="adj" fmla="val 105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hueOff val="1170380"/>
              <a:satOff val="-1460"/>
              <a:lumOff val="343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200" kern="1200" dirty="0" smtClean="0"/>
            <a:t>OFERTA POSICIONADA</a:t>
          </a:r>
          <a:endParaRPr lang="es-CO" sz="1200" kern="1200" dirty="0"/>
        </a:p>
      </dsp:txBody>
      <dsp:txXfrm>
        <a:off x="100809" y="2680069"/>
        <a:ext cx="1267344" cy="776421"/>
      </dsp:txXfrm>
    </dsp:sp>
    <dsp:sp modelId="{89D0241D-CD7B-4831-8612-BCDD93D4DE15}">
      <dsp:nvSpPr>
        <dsp:cNvPr id="0" name=""/>
        <dsp:cNvSpPr/>
      </dsp:nvSpPr>
      <dsp:spPr>
        <a:xfrm>
          <a:off x="100809" y="3472161"/>
          <a:ext cx="1267344" cy="776421"/>
        </a:xfrm>
        <a:prstGeom prst="roundRect">
          <a:avLst>
            <a:gd name="adj" fmla="val 105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hueOff val="1755570"/>
              <a:satOff val="-2190"/>
              <a:lumOff val="515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200" kern="1200" dirty="0" smtClean="0"/>
            <a:t>MARCO NORMATIVO </a:t>
          </a:r>
          <a:endParaRPr lang="es-CO" sz="1200" kern="1200" dirty="0"/>
        </a:p>
      </dsp:txBody>
      <dsp:txXfrm>
        <a:off x="100809" y="3472161"/>
        <a:ext cx="1267344" cy="776421"/>
      </dsp:txXfrm>
    </dsp:sp>
    <dsp:sp modelId="{1768406D-E7BE-47AE-9582-D9F65BF85898}">
      <dsp:nvSpPr>
        <dsp:cNvPr id="0" name=""/>
        <dsp:cNvSpPr/>
      </dsp:nvSpPr>
      <dsp:spPr>
        <a:xfrm>
          <a:off x="1512167" y="1342506"/>
          <a:ext cx="5605824" cy="2777723"/>
        </a:xfrm>
        <a:prstGeom prst="roundRect">
          <a:avLst>
            <a:gd name="adj" fmla="val 10500"/>
          </a:avLst>
        </a:prstGeom>
        <a:solidFill>
          <a:schemeClr val="accent2">
            <a:hueOff val="4681519"/>
            <a:satOff val="-5839"/>
            <a:lumOff val="1373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2023488" numCol="1" spcCol="1270" anchor="t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400" b="1" kern="1200" dirty="0" smtClean="0"/>
            <a:t>MEJORAR CALIDAD Y </a:t>
          </a:r>
        </a:p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400" b="1" kern="1200" dirty="0" smtClean="0"/>
            <a:t>PERTINENCIA DE LA ETDH</a:t>
          </a:r>
          <a:endParaRPr lang="es-CO" sz="2400" b="1" kern="1200" dirty="0"/>
        </a:p>
      </dsp:txBody>
      <dsp:txXfrm>
        <a:off x="1512167" y="1342506"/>
        <a:ext cx="5605824" cy="2777723"/>
      </dsp:txXfrm>
    </dsp:sp>
    <dsp:sp modelId="{5F1618FE-93FA-4360-9F26-DC8DD9CD7210}">
      <dsp:nvSpPr>
        <dsp:cNvPr id="0" name=""/>
        <dsp:cNvSpPr/>
      </dsp:nvSpPr>
      <dsp:spPr>
        <a:xfrm>
          <a:off x="1611269" y="2572038"/>
          <a:ext cx="1064097" cy="1433968"/>
        </a:xfrm>
        <a:prstGeom prst="roundRect">
          <a:avLst>
            <a:gd name="adj" fmla="val 105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hueOff val="2340759"/>
              <a:satOff val="-2919"/>
              <a:lumOff val="686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100" kern="1200" dirty="0" smtClean="0"/>
            <a:t>CALIDAD PROGRAMAS E INSTITUCIONES</a:t>
          </a:r>
          <a:endParaRPr lang="es-CO" sz="1100" kern="1200" dirty="0"/>
        </a:p>
      </dsp:txBody>
      <dsp:txXfrm>
        <a:off x="1611269" y="2572038"/>
        <a:ext cx="1064097" cy="1433968"/>
      </dsp:txXfrm>
    </dsp:sp>
    <dsp:sp modelId="{4D5A258B-30CD-4733-9875-8FD88A308567}">
      <dsp:nvSpPr>
        <dsp:cNvPr id="0" name=""/>
        <dsp:cNvSpPr/>
      </dsp:nvSpPr>
      <dsp:spPr>
        <a:xfrm>
          <a:off x="2697045" y="2572038"/>
          <a:ext cx="1064097" cy="1433968"/>
        </a:xfrm>
        <a:prstGeom prst="roundRect">
          <a:avLst>
            <a:gd name="adj" fmla="val 105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hueOff val="2925949"/>
              <a:satOff val="-3649"/>
              <a:lumOff val="858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100" kern="1200" dirty="0" smtClean="0"/>
            <a:t>GESTION  INSTITUCIONAL</a:t>
          </a:r>
          <a:endParaRPr lang="es-CO" sz="1100" kern="1200" dirty="0"/>
        </a:p>
      </dsp:txBody>
      <dsp:txXfrm>
        <a:off x="2697045" y="2572038"/>
        <a:ext cx="1064097" cy="1433968"/>
      </dsp:txXfrm>
    </dsp:sp>
    <dsp:sp modelId="{46440A11-D612-4E4A-9441-8C8BB3AE3E7A}">
      <dsp:nvSpPr>
        <dsp:cNvPr id="0" name=""/>
        <dsp:cNvSpPr/>
      </dsp:nvSpPr>
      <dsp:spPr>
        <a:xfrm>
          <a:off x="3782822" y="2572038"/>
          <a:ext cx="1064097" cy="1433968"/>
        </a:xfrm>
        <a:prstGeom prst="roundRect">
          <a:avLst>
            <a:gd name="adj" fmla="val 105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hueOff val="3511139"/>
              <a:satOff val="-4379"/>
              <a:lumOff val="103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100" kern="1200" dirty="0" smtClean="0"/>
            <a:t>ARTICULACIÓN</a:t>
          </a:r>
          <a:endParaRPr lang="es-CO" sz="1100" kern="1200" dirty="0"/>
        </a:p>
      </dsp:txBody>
      <dsp:txXfrm>
        <a:off x="3782822" y="2572038"/>
        <a:ext cx="1064097" cy="1433968"/>
      </dsp:txXfrm>
    </dsp:sp>
    <dsp:sp modelId="{38B402E7-FEC9-4991-B47D-2B083A3034F9}">
      <dsp:nvSpPr>
        <dsp:cNvPr id="0" name=""/>
        <dsp:cNvSpPr/>
      </dsp:nvSpPr>
      <dsp:spPr>
        <a:xfrm>
          <a:off x="4868598" y="2572038"/>
          <a:ext cx="1064097" cy="1433968"/>
        </a:xfrm>
        <a:prstGeom prst="roundRect">
          <a:avLst>
            <a:gd name="adj" fmla="val 105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hueOff val="4096329"/>
              <a:satOff val="-5109"/>
              <a:lumOff val="1201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100" kern="1200" dirty="0" smtClean="0"/>
            <a:t>ALIANZAS Y TRABJO EN RED</a:t>
          </a:r>
          <a:endParaRPr lang="es-CO" sz="1100" kern="1200" dirty="0"/>
        </a:p>
      </dsp:txBody>
      <dsp:txXfrm>
        <a:off x="4868598" y="2572038"/>
        <a:ext cx="1064097" cy="1433968"/>
      </dsp:txXfrm>
    </dsp:sp>
    <dsp:sp modelId="{7B685EA6-707F-4298-B0BD-82CFADECF61D}">
      <dsp:nvSpPr>
        <dsp:cNvPr id="0" name=""/>
        <dsp:cNvSpPr/>
      </dsp:nvSpPr>
      <dsp:spPr>
        <a:xfrm>
          <a:off x="5954375" y="2572038"/>
          <a:ext cx="1064097" cy="1433968"/>
        </a:xfrm>
        <a:prstGeom prst="roundRect">
          <a:avLst>
            <a:gd name="adj" fmla="val 1050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hueOff val="4681519"/>
              <a:satOff val="-5839"/>
              <a:lumOff val="1373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100" kern="1200" dirty="0" smtClean="0"/>
            <a:t>PERTINENCIA E INNOVACIÓN</a:t>
          </a:r>
          <a:endParaRPr lang="es-CO" sz="1100" kern="1200" dirty="0"/>
        </a:p>
      </dsp:txBody>
      <dsp:txXfrm>
        <a:off x="5954375" y="2572038"/>
        <a:ext cx="1064097" cy="1433968"/>
      </dsp:txXfrm>
    </dsp:sp>
  </dsp:spTree>
</dsp:drawing>
</file>

<file path=ppt/diagrams/drawing1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EE00DCD-FA0D-4AFA-92CC-F02F551A0210}">
      <dsp:nvSpPr>
        <dsp:cNvPr id="0" name=""/>
        <dsp:cNvSpPr/>
      </dsp:nvSpPr>
      <dsp:spPr>
        <a:xfrm>
          <a:off x="698505" y="0"/>
          <a:ext cx="3602732" cy="3602732"/>
        </a:xfrm>
        <a:prstGeom prst="triangl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6D2E3C9-D2EF-470D-9316-1AB6A028E7DF}">
      <dsp:nvSpPr>
        <dsp:cNvPr id="0" name=""/>
        <dsp:cNvSpPr/>
      </dsp:nvSpPr>
      <dsp:spPr>
        <a:xfrm>
          <a:off x="2499871" y="360625"/>
          <a:ext cx="2341775" cy="640329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500" b="1" kern="1200" dirty="0" smtClean="0"/>
            <a:t>Control del Sistema desde AC hasta I&amp;V</a:t>
          </a:r>
          <a:endParaRPr lang="es-CO" sz="1500" b="1" kern="1200" dirty="0"/>
        </a:p>
      </dsp:txBody>
      <dsp:txXfrm>
        <a:off x="2499871" y="360625"/>
        <a:ext cx="2341775" cy="640329"/>
      </dsp:txXfrm>
    </dsp:sp>
    <dsp:sp modelId="{A94D3B48-E328-4FA4-99D8-5E70A7DCC19F}">
      <dsp:nvSpPr>
        <dsp:cNvPr id="0" name=""/>
        <dsp:cNvSpPr/>
      </dsp:nvSpPr>
      <dsp:spPr>
        <a:xfrm>
          <a:off x="2499871" y="1080995"/>
          <a:ext cx="2341775" cy="640329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3">
              <a:hueOff val="3750088"/>
              <a:satOff val="-5627"/>
              <a:lumOff val="-915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500" b="1" kern="1200" dirty="0" smtClean="0"/>
            <a:t>Apoyo a las SEC en los elementos propios de la ET</a:t>
          </a:r>
          <a:endParaRPr lang="es-CO" sz="1500" b="1" kern="1200" dirty="0"/>
        </a:p>
      </dsp:txBody>
      <dsp:txXfrm>
        <a:off x="2499871" y="1080995"/>
        <a:ext cx="2341775" cy="640329"/>
      </dsp:txXfrm>
    </dsp:sp>
    <dsp:sp modelId="{029ADA3D-FDC5-4769-9624-D6AB8B3CE1BB}">
      <dsp:nvSpPr>
        <dsp:cNvPr id="0" name=""/>
        <dsp:cNvSpPr/>
      </dsp:nvSpPr>
      <dsp:spPr>
        <a:xfrm>
          <a:off x="2499871" y="1801366"/>
          <a:ext cx="2341775" cy="640329"/>
        </a:xfrm>
        <a:prstGeom prst="roundRect">
          <a:avLst/>
        </a:prstGeom>
        <a:solidFill>
          <a:schemeClr val="accent6">
            <a:lumMod val="40000"/>
            <a:lumOff val="60000"/>
            <a:alpha val="90000"/>
          </a:schemeClr>
        </a:solidFill>
        <a:ln w="15875" cap="flat" cmpd="sng" algn="ctr">
          <a:solidFill>
            <a:schemeClr val="accent3">
              <a:hueOff val="7500176"/>
              <a:satOff val="-11253"/>
              <a:lumOff val="-183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500" b="1" i="1" kern="1200" dirty="0" smtClean="0">
              <a:solidFill>
                <a:srgbClr val="002060"/>
              </a:solidFill>
            </a:rPr>
            <a:t>Aplicación con la normatividad vigente</a:t>
          </a:r>
          <a:endParaRPr lang="es-CO" sz="1500" kern="1200" dirty="0">
            <a:solidFill>
              <a:srgbClr val="002060"/>
            </a:solidFill>
          </a:endParaRPr>
        </a:p>
      </dsp:txBody>
      <dsp:txXfrm>
        <a:off x="2499871" y="1801366"/>
        <a:ext cx="2341775" cy="640329"/>
      </dsp:txXfrm>
    </dsp:sp>
    <dsp:sp modelId="{A472A3D6-8B49-45C7-854A-4A04DF87CE06}">
      <dsp:nvSpPr>
        <dsp:cNvPr id="0" name=""/>
        <dsp:cNvSpPr/>
      </dsp:nvSpPr>
      <dsp:spPr>
        <a:xfrm>
          <a:off x="2499871" y="2521736"/>
          <a:ext cx="2341775" cy="640329"/>
        </a:xfrm>
        <a:prstGeom prst="roundRect">
          <a:avLst/>
        </a:prstGeom>
        <a:solidFill>
          <a:schemeClr val="accent6">
            <a:lumMod val="40000"/>
            <a:lumOff val="60000"/>
            <a:alpha val="90000"/>
          </a:schemeClr>
        </a:solidFill>
        <a:ln w="15875" cap="flat" cmpd="sng" algn="ctr">
          <a:solidFill>
            <a:schemeClr val="accent3">
              <a:hueOff val="11250264"/>
              <a:satOff val="-16880"/>
              <a:lumOff val="-2745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lvl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500" b="1" i="1" kern="1200" dirty="0" smtClean="0">
              <a:solidFill>
                <a:srgbClr val="002060"/>
              </a:solidFill>
            </a:rPr>
            <a:t>SIET como base</a:t>
          </a:r>
          <a:endParaRPr lang="es-CO" sz="1500" b="1" i="1" kern="1200" dirty="0">
            <a:solidFill>
              <a:srgbClr val="002060"/>
            </a:solidFill>
          </a:endParaRPr>
        </a:p>
      </dsp:txBody>
      <dsp:txXfrm>
        <a:off x="2499871" y="2521736"/>
        <a:ext cx="2341775" cy="640329"/>
      </dsp:txXfrm>
    </dsp:sp>
  </dsp:spTree>
</dsp:drawing>
</file>

<file path=ppt/diagrams/drawing1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FCBCC9CB-CCFD-4ADA-A2DC-5377C82B0C7B}">
      <dsp:nvSpPr>
        <dsp:cNvPr id="0" name=""/>
        <dsp:cNvSpPr/>
      </dsp:nvSpPr>
      <dsp:spPr>
        <a:xfrm>
          <a:off x="0" y="100604"/>
          <a:ext cx="4388296" cy="4388296"/>
        </a:xfrm>
        <a:prstGeom prst="ellips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600" b="1" kern="1200" dirty="0" smtClean="0">
              <a:solidFill>
                <a:srgbClr val="C00000"/>
              </a:solidFill>
            </a:rPr>
            <a:t>SCAFT</a:t>
          </a:r>
          <a:endParaRPr lang="es-CO" sz="1600" b="1" kern="1200" dirty="0">
            <a:solidFill>
              <a:srgbClr val="C00000"/>
            </a:solidFill>
          </a:endParaRPr>
        </a:p>
      </dsp:txBody>
      <dsp:txXfrm>
        <a:off x="1580664" y="320019"/>
        <a:ext cx="1226967" cy="658244"/>
      </dsp:txXfrm>
    </dsp:sp>
    <dsp:sp modelId="{A02FAB29-46D4-4715-8B5F-3A93EB3B188B}">
      <dsp:nvSpPr>
        <dsp:cNvPr id="0" name=""/>
        <dsp:cNvSpPr/>
      </dsp:nvSpPr>
      <dsp:spPr>
        <a:xfrm>
          <a:off x="438829" y="946492"/>
          <a:ext cx="3510636" cy="3510636"/>
        </a:xfrm>
        <a:prstGeom prst="ellipse">
          <a:avLst/>
        </a:prstGeom>
        <a:solidFill>
          <a:schemeClr val="accent3">
            <a:hueOff val="3750088"/>
            <a:satOff val="-5627"/>
            <a:lumOff val="-915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99568" rIns="99568" bIns="99568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400" b="1" kern="1200" dirty="0" smtClean="0">
              <a:solidFill>
                <a:srgbClr val="C00000"/>
              </a:solidFill>
            </a:rPr>
            <a:t>MEN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400" b="1" kern="1200" dirty="0" smtClean="0">
              <a:solidFill>
                <a:srgbClr val="C00000"/>
              </a:solidFill>
            </a:rPr>
            <a:t>Banco de Pares (SEC)</a:t>
          </a:r>
          <a:endParaRPr lang="es-CO" sz="1400" b="1" kern="1200" dirty="0">
            <a:solidFill>
              <a:srgbClr val="C00000"/>
            </a:solidFill>
          </a:endParaRPr>
        </a:p>
      </dsp:txBody>
      <dsp:txXfrm>
        <a:off x="1580664" y="1157130"/>
        <a:ext cx="1226967" cy="631914"/>
      </dsp:txXfrm>
    </dsp:sp>
    <dsp:sp modelId="{38DF4771-44E3-434C-8D28-39E7A86F6222}">
      <dsp:nvSpPr>
        <dsp:cNvPr id="0" name=""/>
        <dsp:cNvSpPr/>
      </dsp:nvSpPr>
      <dsp:spPr>
        <a:xfrm>
          <a:off x="877659" y="1824151"/>
          <a:ext cx="2632977" cy="2632977"/>
        </a:xfrm>
        <a:prstGeom prst="ellipse">
          <a:avLst/>
        </a:prstGeom>
        <a:solidFill>
          <a:schemeClr val="accent3">
            <a:hueOff val="7500176"/>
            <a:satOff val="-11253"/>
            <a:lumOff val="-183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142240" rIns="142240" bIns="14224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000" b="1" kern="1200" dirty="0" smtClean="0">
              <a:solidFill>
                <a:srgbClr val="C00000"/>
              </a:solidFill>
            </a:rPr>
            <a:t>SIACET</a:t>
          </a:r>
          <a:endParaRPr lang="es-CO" sz="2000" b="1" kern="1200" dirty="0">
            <a:solidFill>
              <a:srgbClr val="C00000"/>
            </a:solidFill>
          </a:endParaRPr>
        </a:p>
      </dsp:txBody>
      <dsp:txXfrm>
        <a:off x="1580664" y="2021625"/>
        <a:ext cx="1226967" cy="592419"/>
      </dsp:txXfrm>
    </dsp:sp>
    <dsp:sp modelId="{6EDA969A-B36D-46E6-8672-EE8B61D1564D}">
      <dsp:nvSpPr>
        <dsp:cNvPr id="0" name=""/>
        <dsp:cNvSpPr/>
      </dsp:nvSpPr>
      <dsp:spPr>
        <a:xfrm>
          <a:off x="1328530" y="2702723"/>
          <a:ext cx="1755318" cy="1755318"/>
        </a:xfrm>
        <a:prstGeom prst="ellipse">
          <a:avLst/>
        </a:prstGeom>
        <a:solidFill>
          <a:schemeClr val="accent3">
            <a:hueOff val="11250264"/>
            <a:satOff val="-16880"/>
            <a:lumOff val="-2745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0688" tIns="170688" rIns="170688" bIns="170688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400" b="1" kern="1200" dirty="0" smtClean="0">
              <a:solidFill>
                <a:srgbClr val="000099"/>
              </a:solidFill>
            </a:rPr>
            <a:t>SIET</a:t>
          </a:r>
          <a:endParaRPr lang="es-CO" sz="2400" b="1" kern="1200" dirty="0">
            <a:solidFill>
              <a:srgbClr val="000099"/>
            </a:solidFill>
          </a:endParaRPr>
        </a:p>
      </dsp:txBody>
      <dsp:txXfrm>
        <a:off x="1585590" y="3141553"/>
        <a:ext cx="1241197" cy="877659"/>
      </dsp:txXfrm>
    </dsp:sp>
  </dsp:spTree>
</dsp:drawing>
</file>

<file path=ppt/diagrams/drawing1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AAEBB448-7A79-4223-B3A2-B08718EDD020}">
      <dsp:nvSpPr>
        <dsp:cNvPr id="0" name=""/>
        <dsp:cNvSpPr/>
      </dsp:nvSpPr>
      <dsp:spPr>
        <a:xfrm>
          <a:off x="0" y="1743240"/>
          <a:ext cx="1608770" cy="1407062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20000"/>
                <a:satMod val="180000"/>
                <a:lumMod val="98000"/>
              </a:schemeClr>
            </a:gs>
            <a:gs pos="40000">
              <a:schemeClr val="lt1">
                <a:hueOff val="0"/>
                <a:satOff val="0"/>
                <a:lumOff val="0"/>
                <a:alphaOff val="0"/>
                <a:tint val="30000"/>
                <a:satMod val="260000"/>
                <a:lumMod val="84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00000"/>
                <a:satMod val="110000"/>
                <a:lumMod val="100000"/>
              </a:schemeClr>
            </a:gs>
          </a:gsLst>
          <a:lin ang="5040000" scaled="1"/>
        </a:gradFill>
        <a:ln>
          <a:solidFill>
            <a:schemeClr val="tx1"/>
          </a:solidFill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b="1" kern="1200" baseline="0" dirty="0" smtClean="0"/>
            <a:t>Radicación</a:t>
          </a:r>
          <a:endParaRPr lang="es-CO" sz="1800" b="1" kern="1200" baseline="0" dirty="0"/>
        </a:p>
      </dsp:txBody>
      <dsp:txXfrm>
        <a:off x="0" y="1743240"/>
        <a:ext cx="1608770" cy="1407062"/>
      </dsp:txXfrm>
    </dsp:sp>
    <dsp:sp modelId="{FB45F770-6424-45F2-888F-C2E18009EA32}">
      <dsp:nvSpPr>
        <dsp:cNvPr id="0" name=""/>
        <dsp:cNvSpPr/>
      </dsp:nvSpPr>
      <dsp:spPr>
        <a:xfrm rot="21507561">
          <a:off x="1770508" y="2216685"/>
          <a:ext cx="343139" cy="398975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4">
                <a:tint val="60000"/>
                <a:hueOff val="0"/>
                <a:satOff val="0"/>
                <a:lumOff val="0"/>
                <a:alphaOff val="0"/>
                <a:tint val="20000"/>
                <a:satMod val="180000"/>
                <a:lumMod val="98000"/>
              </a:schemeClr>
            </a:gs>
            <a:gs pos="40000">
              <a:schemeClr val="accent4">
                <a:tint val="60000"/>
                <a:hueOff val="0"/>
                <a:satOff val="0"/>
                <a:lumOff val="0"/>
                <a:alphaOff val="0"/>
                <a:tint val="30000"/>
                <a:satMod val="260000"/>
                <a:lumMod val="84000"/>
              </a:schemeClr>
            </a:gs>
            <a:gs pos="100000">
              <a:schemeClr val="accent4">
                <a:tint val="60000"/>
                <a:hueOff val="0"/>
                <a:satOff val="0"/>
                <a:lumOff val="0"/>
                <a:alphaOff val="0"/>
                <a:tint val="100000"/>
                <a:satMod val="110000"/>
                <a:lumMod val="100000"/>
              </a:schemeClr>
            </a:gs>
          </a:gsLst>
          <a:lin ang="5040000" scaled="1"/>
        </a:gradFill>
        <a:ln>
          <a:solidFill>
            <a:schemeClr val="tx1"/>
          </a:solidFill>
        </a:ln>
        <a:effectLst/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O" sz="1700" kern="1200"/>
        </a:p>
      </dsp:txBody>
      <dsp:txXfrm rot="21507561">
        <a:off x="1770508" y="2216685"/>
        <a:ext cx="343139" cy="398975"/>
      </dsp:txXfrm>
    </dsp:sp>
    <dsp:sp modelId="{3A81BEAA-FD45-4847-BD51-2D87C56F28A3}">
      <dsp:nvSpPr>
        <dsp:cNvPr id="0" name=""/>
        <dsp:cNvSpPr/>
      </dsp:nvSpPr>
      <dsp:spPr>
        <a:xfrm>
          <a:off x="2255969" y="1682564"/>
          <a:ext cx="1608770" cy="1407062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20000"/>
                <a:satMod val="180000"/>
                <a:lumMod val="98000"/>
              </a:schemeClr>
            </a:gs>
            <a:gs pos="40000">
              <a:schemeClr val="lt1">
                <a:hueOff val="0"/>
                <a:satOff val="0"/>
                <a:lumOff val="0"/>
                <a:alphaOff val="0"/>
                <a:tint val="30000"/>
                <a:satMod val="260000"/>
                <a:lumMod val="84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00000"/>
                <a:satMod val="110000"/>
                <a:lumMod val="100000"/>
              </a:schemeClr>
            </a:gs>
          </a:gsLst>
          <a:lin ang="5040000" scaled="1"/>
        </a:gradFill>
        <a:ln>
          <a:solidFill>
            <a:schemeClr val="tx1"/>
          </a:solidFill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b="1" kern="1200" dirty="0" smtClean="0"/>
            <a:t>Admisión</a:t>
          </a:r>
          <a:endParaRPr lang="es-CO" sz="1800" b="1" kern="1200" dirty="0"/>
        </a:p>
      </dsp:txBody>
      <dsp:txXfrm>
        <a:off x="2255969" y="1682564"/>
        <a:ext cx="1608770" cy="1407062"/>
      </dsp:txXfrm>
    </dsp:sp>
    <dsp:sp modelId="{E5262919-818A-4750-A55C-EFA41F4D5269}">
      <dsp:nvSpPr>
        <dsp:cNvPr id="0" name=""/>
        <dsp:cNvSpPr/>
      </dsp:nvSpPr>
      <dsp:spPr>
        <a:xfrm>
          <a:off x="4025616" y="2186608"/>
          <a:ext cx="341059" cy="398975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4">
                <a:tint val="60000"/>
                <a:hueOff val="0"/>
                <a:satOff val="0"/>
                <a:lumOff val="0"/>
                <a:alphaOff val="0"/>
                <a:tint val="20000"/>
                <a:satMod val="180000"/>
                <a:lumMod val="98000"/>
              </a:schemeClr>
            </a:gs>
            <a:gs pos="40000">
              <a:schemeClr val="accent4">
                <a:tint val="60000"/>
                <a:hueOff val="0"/>
                <a:satOff val="0"/>
                <a:lumOff val="0"/>
                <a:alphaOff val="0"/>
                <a:tint val="30000"/>
                <a:satMod val="260000"/>
                <a:lumMod val="84000"/>
              </a:schemeClr>
            </a:gs>
            <a:gs pos="100000">
              <a:schemeClr val="accent4">
                <a:tint val="60000"/>
                <a:hueOff val="0"/>
                <a:satOff val="0"/>
                <a:lumOff val="0"/>
                <a:alphaOff val="0"/>
                <a:tint val="100000"/>
                <a:satMod val="110000"/>
                <a:lumMod val="100000"/>
              </a:schemeClr>
            </a:gs>
          </a:gsLst>
          <a:lin ang="5040000" scaled="1"/>
        </a:gradFill>
        <a:ln>
          <a:solidFill>
            <a:schemeClr val="tx1"/>
          </a:solidFill>
        </a:ln>
        <a:effectLst/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O" sz="1700" kern="1200"/>
        </a:p>
      </dsp:txBody>
      <dsp:txXfrm>
        <a:off x="4025616" y="2186608"/>
        <a:ext cx="341059" cy="398975"/>
      </dsp:txXfrm>
    </dsp:sp>
    <dsp:sp modelId="{9B07BDE7-D034-4A76-8710-DE9D01B51BAA}">
      <dsp:nvSpPr>
        <dsp:cNvPr id="0" name=""/>
        <dsp:cNvSpPr/>
      </dsp:nvSpPr>
      <dsp:spPr>
        <a:xfrm>
          <a:off x="4508247" y="1682564"/>
          <a:ext cx="1608770" cy="1407062"/>
        </a:xfrm>
        <a:prstGeom prst="roundRect">
          <a:avLst>
            <a:gd name="adj" fmla="val 10000"/>
          </a:avLst>
        </a:prstGeom>
        <a:gradFill rotWithShape="0">
          <a:gsLst>
            <a:gs pos="0">
              <a:srgbClr val="FFEFD1"/>
            </a:gs>
            <a:gs pos="64999">
              <a:srgbClr val="F0EBD5"/>
            </a:gs>
            <a:gs pos="100000">
              <a:srgbClr val="D1C39F"/>
            </a:gs>
          </a:gsLst>
          <a:lin ang="5040000" scaled="0"/>
        </a:gradFill>
        <a:ln>
          <a:solidFill>
            <a:schemeClr val="tx1"/>
          </a:solidFill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b="1" kern="1200" dirty="0" smtClean="0"/>
            <a:t>Evaluación y concepto técnico</a:t>
          </a:r>
          <a:endParaRPr lang="es-CO" sz="1800" b="1" kern="1200" dirty="0"/>
        </a:p>
      </dsp:txBody>
      <dsp:txXfrm>
        <a:off x="4508247" y="1682564"/>
        <a:ext cx="1608770" cy="1407062"/>
      </dsp:txXfrm>
    </dsp:sp>
    <dsp:sp modelId="{227CCB90-20E2-47E6-97EF-07F340FB25A1}">
      <dsp:nvSpPr>
        <dsp:cNvPr id="0" name=""/>
        <dsp:cNvSpPr/>
      </dsp:nvSpPr>
      <dsp:spPr>
        <a:xfrm>
          <a:off x="6277895" y="2186608"/>
          <a:ext cx="341059" cy="398975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4">
                <a:tint val="60000"/>
                <a:hueOff val="0"/>
                <a:satOff val="0"/>
                <a:lumOff val="0"/>
                <a:alphaOff val="0"/>
                <a:tint val="20000"/>
                <a:satMod val="180000"/>
                <a:lumMod val="98000"/>
              </a:schemeClr>
            </a:gs>
            <a:gs pos="40000">
              <a:schemeClr val="accent4">
                <a:tint val="60000"/>
                <a:hueOff val="0"/>
                <a:satOff val="0"/>
                <a:lumOff val="0"/>
                <a:alphaOff val="0"/>
                <a:tint val="30000"/>
                <a:satMod val="260000"/>
                <a:lumMod val="84000"/>
              </a:schemeClr>
            </a:gs>
            <a:gs pos="100000">
              <a:schemeClr val="accent4">
                <a:tint val="60000"/>
                <a:hueOff val="0"/>
                <a:satOff val="0"/>
                <a:lumOff val="0"/>
                <a:alphaOff val="0"/>
                <a:tint val="100000"/>
                <a:satMod val="110000"/>
                <a:lumMod val="100000"/>
              </a:schemeClr>
            </a:gs>
          </a:gsLst>
          <a:lin ang="5040000" scaled="1"/>
        </a:gradFill>
        <a:ln>
          <a:solidFill>
            <a:schemeClr val="tx1"/>
          </a:solidFill>
        </a:ln>
        <a:effectLst/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s-CO" sz="1700" kern="1200"/>
        </a:p>
      </dsp:txBody>
      <dsp:txXfrm>
        <a:off x="6277895" y="2186608"/>
        <a:ext cx="341059" cy="398975"/>
      </dsp:txXfrm>
    </dsp:sp>
    <dsp:sp modelId="{68AA3B69-CD8A-4B67-8305-206DE1D0C45E}">
      <dsp:nvSpPr>
        <dsp:cNvPr id="0" name=""/>
        <dsp:cNvSpPr/>
      </dsp:nvSpPr>
      <dsp:spPr>
        <a:xfrm>
          <a:off x="6760526" y="1511993"/>
          <a:ext cx="1804734" cy="1748205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tint val="20000"/>
                <a:satMod val="180000"/>
                <a:lumMod val="98000"/>
              </a:schemeClr>
            </a:gs>
            <a:gs pos="40000">
              <a:schemeClr val="lt1">
                <a:hueOff val="0"/>
                <a:satOff val="0"/>
                <a:lumOff val="0"/>
                <a:alphaOff val="0"/>
                <a:tint val="30000"/>
                <a:satMod val="260000"/>
                <a:lumMod val="84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tint val="100000"/>
                <a:satMod val="110000"/>
                <a:lumMod val="100000"/>
              </a:schemeClr>
            </a:gs>
          </a:gsLst>
          <a:lin ang="5040000" scaled="1"/>
        </a:gradFill>
        <a:ln>
          <a:solidFill>
            <a:schemeClr val="tx1"/>
          </a:solidFill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b="1" kern="1200" dirty="0" smtClean="0"/>
            <a:t>Expedición acto administrativo</a:t>
          </a:r>
          <a:endParaRPr lang="es-CO" sz="1800" b="1" kern="1200" dirty="0"/>
        </a:p>
      </dsp:txBody>
      <dsp:txXfrm>
        <a:off x="6760526" y="1511993"/>
        <a:ext cx="1804734" cy="1748205"/>
      </dsp:txXfrm>
    </dsp:sp>
  </dsp:spTree>
</dsp:drawing>
</file>

<file path=ppt/diagrams/drawing1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D8E250E7-B875-409E-BB2E-29F7277DA514}">
      <dsp:nvSpPr>
        <dsp:cNvPr id="0" name=""/>
        <dsp:cNvSpPr/>
      </dsp:nvSpPr>
      <dsp:spPr>
        <a:xfrm>
          <a:off x="821096" y="375"/>
          <a:ext cx="7455062" cy="601607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000" kern="1200" smtClean="0"/>
            <a:t>Diagnóstico- Situación actual de la gestión de las SEC sobre ET</a:t>
          </a:r>
          <a:endParaRPr lang="es-CO" sz="2000" kern="1200" dirty="0"/>
        </a:p>
      </dsp:txBody>
      <dsp:txXfrm>
        <a:off x="821096" y="375"/>
        <a:ext cx="7455062" cy="601607"/>
      </dsp:txXfrm>
    </dsp:sp>
    <dsp:sp modelId="{873D4A6C-9A76-42AC-90D9-988ED1A9851E}">
      <dsp:nvSpPr>
        <dsp:cNvPr id="0" name=""/>
        <dsp:cNvSpPr/>
      </dsp:nvSpPr>
      <dsp:spPr>
        <a:xfrm>
          <a:off x="821096" y="632063"/>
          <a:ext cx="7501807" cy="601607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000" kern="1200" smtClean="0"/>
            <a:t>Deber Ser de las SEC frente a la gestión de la ET</a:t>
          </a:r>
          <a:endParaRPr lang="es-CO" sz="2000" kern="1200" dirty="0"/>
        </a:p>
      </dsp:txBody>
      <dsp:txXfrm>
        <a:off x="821096" y="632063"/>
        <a:ext cx="7501807" cy="601607"/>
      </dsp:txXfrm>
    </dsp:sp>
    <dsp:sp modelId="{A3324FF4-D498-4F95-B215-22839186CD67}">
      <dsp:nvSpPr>
        <dsp:cNvPr id="0" name=""/>
        <dsp:cNvSpPr/>
      </dsp:nvSpPr>
      <dsp:spPr>
        <a:xfrm>
          <a:off x="821096" y="1263751"/>
          <a:ext cx="7501807" cy="601607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000" kern="1200" smtClean="0"/>
            <a:t>Identificación de buenas prácticas en gestión de la ET en SEC</a:t>
          </a:r>
          <a:endParaRPr lang="es-CO" sz="2000" kern="1200" dirty="0"/>
        </a:p>
      </dsp:txBody>
      <dsp:txXfrm>
        <a:off x="821096" y="1263751"/>
        <a:ext cx="7501807" cy="601607"/>
      </dsp:txXfrm>
    </dsp:sp>
    <dsp:sp modelId="{9A73934C-AB90-436D-8A71-A33338737B5D}">
      <dsp:nvSpPr>
        <dsp:cNvPr id="0" name=""/>
        <dsp:cNvSpPr/>
      </dsp:nvSpPr>
      <dsp:spPr>
        <a:xfrm>
          <a:off x="821096" y="1895440"/>
          <a:ext cx="7501807" cy="601607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000" kern="1200" smtClean="0"/>
            <a:t>Propuesta de Modelo de gestión de la ET</a:t>
          </a:r>
          <a:endParaRPr lang="es-CO" sz="2000" kern="1200" dirty="0"/>
        </a:p>
      </dsp:txBody>
      <dsp:txXfrm>
        <a:off x="821096" y="1895440"/>
        <a:ext cx="7501807" cy="601607"/>
      </dsp:txXfrm>
    </dsp:sp>
    <dsp:sp modelId="{AAD9DB02-5E82-4A00-A995-1F3F1978B022}">
      <dsp:nvSpPr>
        <dsp:cNvPr id="0" name=""/>
        <dsp:cNvSpPr/>
      </dsp:nvSpPr>
      <dsp:spPr>
        <a:xfrm>
          <a:off x="821096" y="2527128"/>
          <a:ext cx="7501807" cy="601607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000" kern="1200" smtClean="0"/>
            <a:t>Fortalezas y debilidades para la aplicación del Modelo propuesto</a:t>
          </a:r>
          <a:endParaRPr lang="es-CO" sz="2000" kern="1200" dirty="0"/>
        </a:p>
      </dsp:txBody>
      <dsp:txXfrm>
        <a:off x="821096" y="2527128"/>
        <a:ext cx="7501807" cy="601607"/>
      </dsp:txXfrm>
    </dsp:sp>
    <dsp:sp modelId="{675632B2-662F-4E01-9AA4-1FD0756887D1}">
      <dsp:nvSpPr>
        <dsp:cNvPr id="0" name=""/>
        <dsp:cNvSpPr/>
      </dsp:nvSpPr>
      <dsp:spPr>
        <a:xfrm>
          <a:off x="821096" y="3158816"/>
          <a:ext cx="7501807" cy="601607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000" kern="1200" dirty="0" smtClean="0"/>
            <a:t>Análisis de la normatividad vigente en relación con la gestión de la ET </a:t>
          </a:r>
          <a:endParaRPr lang="es-CO" sz="2000" b="0" kern="1200" dirty="0"/>
        </a:p>
      </dsp:txBody>
      <dsp:txXfrm>
        <a:off x="821096" y="3158816"/>
        <a:ext cx="7501807" cy="601607"/>
      </dsp:txXfrm>
    </dsp:sp>
    <dsp:sp modelId="{4350A3B7-E0C9-4F73-9C5D-53FAF916E882}">
      <dsp:nvSpPr>
        <dsp:cNvPr id="0" name=""/>
        <dsp:cNvSpPr/>
      </dsp:nvSpPr>
      <dsp:spPr>
        <a:xfrm>
          <a:off x="821096" y="3790504"/>
          <a:ext cx="7501807" cy="601607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000" kern="1200" dirty="0" smtClean="0"/>
            <a:t>Propuesta de ajuste normativo</a:t>
          </a:r>
          <a:endParaRPr lang="es-CO" sz="2000" kern="1200" dirty="0"/>
        </a:p>
      </dsp:txBody>
      <dsp:txXfrm>
        <a:off x="821096" y="3790504"/>
        <a:ext cx="7501807" cy="601607"/>
      </dsp:txXfrm>
    </dsp:sp>
  </dsp:spTree>
</dsp:drawing>
</file>

<file path=ppt/diagrams/drawing17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00607005-717C-481C-8919-860A024D6BBF}">
      <dsp:nvSpPr>
        <dsp:cNvPr id="0" name=""/>
        <dsp:cNvSpPr/>
      </dsp:nvSpPr>
      <dsp:spPr>
        <a:xfrm>
          <a:off x="397" y="542178"/>
          <a:ext cx="8777444" cy="3596163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45720" rIns="68580" bIns="45720" numCol="1" spcCol="1270" anchor="ctr" anchorCtr="0">
          <a:noAutofit/>
        </a:bodyPr>
        <a:lstStyle/>
        <a:p>
          <a:pPr lvl="0" algn="just" defTabSz="1600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3600" kern="1200" dirty="0" smtClean="0"/>
            <a:t>El deber ser de la educación para el trabajo bajo la estructura de un modelo de gestión, debe partir de una amplia capacitación e integración entre las diversas entidades e instituciones de formación y las autoridades educativas respectivas.</a:t>
          </a:r>
          <a:endParaRPr lang="es-CO" sz="3600" kern="1200" dirty="0"/>
        </a:p>
      </dsp:txBody>
      <dsp:txXfrm>
        <a:off x="397" y="542178"/>
        <a:ext cx="8777444" cy="3596163"/>
      </dsp:txXfrm>
    </dsp:sp>
  </dsp:spTree>
</dsp:drawing>
</file>

<file path=ppt/diagrams/drawing18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03D6B6F6-0F43-4C99-8D6E-17D4C425824B}">
      <dsp:nvSpPr>
        <dsp:cNvPr id="0" name=""/>
        <dsp:cNvSpPr/>
      </dsp:nvSpPr>
      <dsp:spPr>
        <a:xfrm>
          <a:off x="4412" y="2006099"/>
          <a:ext cx="1504611" cy="2845800"/>
        </a:xfrm>
        <a:prstGeom prst="roundRect">
          <a:avLst>
            <a:gd name="adj" fmla="val 1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600" kern="1200" dirty="0" smtClean="0"/>
            <a:t>Ejercer una gestión que ayude al cumplimiento de las leyes, reglamentos y demás disposiciones que regulen del servicio público educativo</a:t>
          </a:r>
          <a:endParaRPr lang="es-CO" sz="1600" kern="1200" dirty="0"/>
        </a:p>
      </dsp:txBody>
      <dsp:txXfrm>
        <a:off x="4412" y="2006099"/>
        <a:ext cx="1504611" cy="2845800"/>
      </dsp:txXfrm>
    </dsp:sp>
    <dsp:sp modelId="{0FE1064F-6410-4761-8047-987CA2FB6735}">
      <dsp:nvSpPr>
        <dsp:cNvPr id="0" name=""/>
        <dsp:cNvSpPr/>
      </dsp:nvSpPr>
      <dsp:spPr>
        <a:xfrm>
          <a:off x="1885177" y="2006099"/>
          <a:ext cx="1504611" cy="2845800"/>
        </a:xfrm>
        <a:prstGeom prst="roundRect">
          <a:avLst>
            <a:gd name="adj" fmla="val 10000"/>
          </a:avLst>
        </a:prstGeom>
        <a:solidFill>
          <a:schemeClr val="accent2">
            <a:hueOff val="1170380"/>
            <a:satOff val="-1460"/>
            <a:lumOff val="343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600" kern="1200" dirty="0" smtClean="0"/>
            <a:t>Inspeccionar, vigilar y controlar la prestación del servicio público educativo</a:t>
          </a:r>
          <a:endParaRPr lang="es-CO" sz="1600" kern="1200" dirty="0"/>
        </a:p>
      </dsp:txBody>
      <dsp:txXfrm>
        <a:off x="1885177" y="2006099"/>
        <a:ext cx="1504611" cy="2845800"/>
      </dsp:txXfrm>
    </dsp:sp>
    <dsp:sp modelId="{A13CBE09-563D-440B-9EBB-5A9E465855AB}">
      <dsp:nvSpPr>
        <dsp:cNvPr id="0" name=""/>
        <dsp:cNvSpPr/>
      </dsp:nvSpPr>
      <dsp:spPr>
        <a:xfrm>
          <a:off x="3765942" y="2006099"/>
          <a:ext cx="1504611" cy="2845800"/>
        </a:xfrm>
        <a:prstGeom prst="roundRect">
          <a:avLst>
            <a:gd name="adj" fmla="val 10000"/>
          </a:avLst>
        </a:prstGeom>
        <a:solidFill>
          <a:schemeClr val="accent2">
            <a:hueOff val="2340759"/>
            <a:satOff val="-2919"/>
            <a:lumOff val="686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600" kern="1200" dirty="0" smtClean="0"/>
            <a:t>Evaluar los proyectos educativos institucionales y los reglamentos pedagógicos que presten los establecimientos o instituciones educativos</a:t>
          </a:r>
          <a:endParaRPr lang="es-CO" sz="1600" kern="1200" dirty="0"/>
        </a:p>
      </dsp:txBody>
      <dsp:txXfrm>
        <a:off x="3765942" y="2006099"/>
        <a:ext cx="1504611" cy="2845800"/>
      </dsp:txXfrm>
    </dsp:sp>
    <dsp:sp modelId="{6F046F3E-63CC-4D66-BF11-67159E53A19E}">
      <dsp:nvSpPr>
        <dsp:cNvPr id="0" name=""/>
        <dsp:cNvSpPr/>
      </dsp:nvSpPr>
      <dsp:spPr>
        <a:xfrm>
          <a:off x="5646706" y="2006099"/>
          <a:ext cx="1504611" cy="2845800"/>
        </a:xfrm>
        <a:prstGeom prst="roundRect">
          <a:avLst>
            <a:gd name="adj" fmla="val 10000"/>
          </a:avLst>
        </a:prstGeom>
        <a:solidFill>
          <a:schemeClr val="accent2">
            <a:hueOff val="3511139"/>
            <a:satOff val="-4379"/>
            <a:lumOff val="103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600" kern="1200" dirty="0" smtClean="0"/>
            <a:t>Controlar que las instituciones cumplan con todos los lineamientos que se presentan. </a:t>
          </a:r>
          <a:endParaRPr lang="es-CO" sz="1600" kern="1200" dirty="0"/>
        </a:p>
      </dsp:txBody>
      <dsp:txXfrm>
        <a:off x="5646706" y="2006099"/>
        <a:ext cx="1504611" cy="2845800"/>
      </dsp:txXfrm>
    </dsp:sp>
    <dsp:sp modelId="{4BCAF03B-4725-4DC4-A76E-9E6AA247E3BD}">
      <dsp:nvSpPr>
        <dsp:cNvPr id="0" name=""/>
        <dsp:cNvSpPr/>
      </dsp:nvSpPr>
      <dsp:spPr>
        <a:xfrm>
          <a:off x="7527471" y="2006099"/>
          <a:ext cx="1504611" cy="2845800"/>
        </a:xfrm>
        <a:prstGeom prst="roundRect">
          <a:avLst>
            <a:gd name="adj" fmla="val 10000"/>
          </a:avLst>
        </a:prstGeom>
        <a:solidFill>
          <a:schemeClr val="accent2">
            <a:hueOff val="4681519"/>
            <a:satOff val="-5839"/>
            <a:lumOff val="1373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20320" rIns="30480" bIns="20320" numCol="1" spcCol="1270" anchor="ctr" anchorCtr="0">
          <a:noAutofit/>
        </a:bodyPr>
        <a:lstStyle/>
        <a:p>
          <a:pPr lvl="0" algn="ctr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1600" kern="1200" dirty="0" smtClean="0"/>
            <a:t>Adaptar y aplicar aspectos de la educación superior que redunden en su gestión, como lo es el de pares académicos para revisar de su área de conocimiento</a:t>
          </a:r>
          <a:endParaRPr lang="es-CO" sz="1600" kern="1200" dirty="0"/>
        </a:p>
      </dsp:txBody>
      <dsp:txXfrm>
        <a:off x="7527471" y="2006099"/>
        <a:ext cx="1504611" cy="2845800"/>
      </dsp:txXfrm>
    </dsp:sp>
  </dsp:spTree>
</dsp:drawing>
</file>

<file path=ppt/diagrams/drawing19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E4740B4E-D602-44ED-A13C-95D23E3B8B04}">
      <dsp:nvSpPr>
        <dsp:cNvPr id="0" name=""/>
        <dsp:cNvSpPr/>
      </dsp:nvSpPr>
      <dsp:spPr>
        <a:xfrm>
          <a:off x="1607" y="1102071"/>
          <a:ext cx="1847373" cy="3772521"/>
        </a:xfrm>
        <a:prstGeom prst="roundRect">
          <a:avLst>
            <a:gd name="adj" fmla="val 1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000" kern="1200" dirty="0" smtClean="0"/>
            <a:t>Hacer gestión desde lo local hacia lo nacional, de forma tal que se pueda tener éxito en los trámites administrativos</a:t>
          </a:r>
          <a:endParaRPr lang="es-CO" sz="2000" kern="1200" dirty="0"/>
        </a:p>
      </dsp:txBody>
      <dsp:txXfrm>
        <a:off x="1607" y="1102071"/>
        <a:ext cx="1847373" cy="3772521"/>
      </dsp:txXfrm>
    </dsp:sp>
    <dsp:sp modelId="{724FF24A-8DED-47CF-A0DB-4150854DCE25}">
      <dsp:nvSpPr>
        <dsp:cNvPr id="0" name=""/>
        <dsp:cNvSpPr/>
      </dsp:nvSpPr>
      <dsp:spPr>
        <a:xfrm>
          <a:off x="2310824" y="1102071"/>
          <a:ext cx="1847373" cy="3772521"/>
        </a:xfrm>
        <a:prstGeom prst="roundRect">
          <a:avLst>
            <a:gd name="adj" fmla="val 10000"/>
          </a:avLst>
        </a:prstGeom>
        <a:solidFill>
          <a:schemeClr val="accent3">
            <a:hueOff val="3750088"/>
            <a:satOff val="-5627"/>
            <a:lumOff val="-915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000" kern="1200" dirty="0" smtClean="0"/>
            <a:t>Fortalecer los equipos humanos, conocedor del tema, </a:t>
          </a:r>
          <a:endParaRPr lang="es-CO" sz="2000" kern="1200" dirty="0"/>
        </a:p>
      </dsp:txBody>
      <dsp:txXfrm>
        <a:off x="2310824" y="1102071"/>
        <a:ext cx="1847373" cy="3772521"/>
      </dsp:txXfrm>
    </dsp:sp>
    <dsp:sp modelId="{09B66D84-C856-4849-8A3F-1CD1E8CA447C}">
      <dsp:nvSpPr>
        <dsp:cNvPr id="0" name=""/>
        <dsp:cNvSpPr/>
      </dsp:nvSpPr>
      <dsp:spPr>
        <a:xfrm>
          <a:off x="4620041" y="1102071"/>
          <a:ext cx="1847373" cy="3772521"/>
        </a:xfrm>
        <a:prstGeom prst="roundRect">
          <a:avLst>
            <a:gd name="adj" fmla="val 10000"/>
          </a:avLst>
        </a:prstGeom>
        <a:solidFill>
          <a:schemeClr val="accent3">
            <a:hueOff val="7500176"/>
            <a:satOff val="-11253"/>
            <a:lumOff val="-1830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000" kern="1200" dirty="0" smtClean="0"/>
            <a:t>Desplegar acciones de capacitación a funcionarios de calidad y de Inspección y Vigilancia </a:t>
          </a:r>
          <a:endParaRPr lang="es-CO" sz="2000" kern="1200" dirty="0"/>
        </a:p>
      </dsp:txBody>
      <dsp:txXfrm>
        <a:off x="4620041" y="1102071"/>
        <a:ext cx="1847373" cy="3772521"/>
      </dsp:txXfrm>
    </dsp:sp>
    <dsp:sp modelId="{FE081FDD-3553-4622-971D-1C75FC7E7D3B}">
      <dsp:nvSpPr>
        <dsp:cNvPr id="0" name=""/>
        <dsp:cNvSpPr/>
      </dsp:nvSpPr>
      <dsp:spPr>
        <a:xfrm>
          <a:off x="6929258" y="1102071"/>
          <a:ext cx="1847373" cy="3772521"/>
        </a:xfrm>
        <a:prstGeom prst="roundRect">
          <a:avLst>
            <a:gd name="adj" fmla="val 10000"/>
          </a:avLst>
        </a:prstGeom>
        <a:solidFill>
          <a:schemeClr val="accent3">
            <a:hueOff val="11250264"/>
            <a:satOff val="-16880"/>
            <a:lumOff val="-2745"/>
            <a:alphaOff val="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25400" rIns="38100" bIns="254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000" kern="1200" dirty="0" smtClean="0"/>
            <a:t>Aplicar las herramientas normativas, una mejor posición frente al tema de la formación con dependencias encargadas sólo de esta área del conocimiento </a:t>
          </a:r>
          <a:endParaRPr lang="es-CO" sz="2000" kern="1200" dirty="0"/>
        </a:p>
      </dsp:txBody>
      <dsp:txXfrm>
        <a:off x="6929258" y="1102071"/>
        <a:ext cx="1847373" cy="3772521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AC37217A-60E8-4486-91D3-00ABFF0C9208}">
      <dsp:nvSpPr>
        <dsp:cNvPr id="0" name=""/>
        <dsp:cNvSpPr/>
      </dsp:nvSpPr>
      <dsp:spPr>
        <a:xfrm>
          <a:off x="3351" y="333247"/>
          <a:ext cx="1714430" cy="60142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45720" rIns="128016" bIns="4572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kern="1200" dirty="0" smtClean="0"/>
            <a:t>Enfoque de aseguramiento</a:t>
          </a:r>
          <a:endParaRPr lang="es-CO" sz="1800" kern="1200" dirty="0"/>
        </a:p>
      </dsp:txBody>
      <dsp:txXfrm>
        <a:off x="3351" y="333247"/>
        <a:ext cx="1714430" cy="601425"/>
      </dsp:txXfrm>
    </dsp:sp>
    <dsp:sp modelId="{2A249A0F-2B19-4081-B596-AFEEFB00AEC6}">
      <dsp:nvSpPr>
        <dsp:cNvPr id="0" name=""/>
        <dsp:cNvSpPr/>
      </dsp:nvSpPr>
      <dsp:spPr>
        <a:xfrm>
          <a:off x="1717781" y="286261"/>
          <a:ext cx="342886" cy="695397"/>
        </a:xfrm>
        <a:prstGeom prst="leftBrace">
          <a:avLst>
            <a:gd name="adj1" fmla="val 35000"/>
            <a:gd name="adj2" fmla="val 50000"/>
          </a:avLst>
        </a:prstGeom>
        <a:noFill/>
        <a:ln w="1587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3C88672-20D1-4CF1-8191-18C470C93209}">
      <dsp:nvSpPr>
        <dsp:cNvPr id="0" name=""/>
        <dsp:cNvSpPr/>
      </dsp:nvSpPr>
      <dsp:spPr>
        <a:xfrm>
          <a:off x="2197822" y="286261"/>
          <a:ext cx="4663249" cy="695397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tint val="20000"/>
                <a:satMod val="180000"/>
                <a:lumMod val="98000"/>
              </a:schemeClr>
            </a:gs>
            <a:gs pos="40000">
              <a:schemeClr val="accent2">
                <a:hueOff val="0"/>
                <a:satOff val="0"/>
                <a:lumOff val="0"/>
                <a:alphaOff val="0"/>
                <a:tint val="30000"/>
                <a:satMod val="260000"/>
                <a:lumMod val="84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tint val="100000"/>
                <a:satMod val="110000"/>
                <a:lumMod val="100000"/>
              </a:schemeClr>
            </a:gs>
          </a:gsLst>
          <a:lin ang="5040000" scaled="1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800" kern="1200" smtClean="0"/>
            <a:t>Nivel de licenciamiento</a:t>
          </a:r>
          <a:endParaRPr lang="es-CO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800" kern="1200" smtClean="0"/>
            <a:t>Nivel de acreditación</a:t>
          </a:r>
          <a:endParaRPr lang="es-CO" sz="1800" kern="1200" dirty="0"/>
        </a:p>
      </dsp:txBody>
      <dsp:txXfrm>
        <a:off x="2197822" y="286261"/>
        <a:ext cx="4663249" cy="695397"/>
      </dsp:txXfrm>
    </dsp:sp>
    <dsp:sp modelId="{48BF8545-62FB-48D0-BF6C-B1E5382DA192}">
      <dsp:nvSpPr>
        <dsp:cNvPr id="0" name=""/>
        <dsp:cNvSpPr/>
      </dsp:nvSpPr>
      <dsp:spPr>
        <a:xfrm>
          <a:off x="3351" y="1074650"/>
          <a:ext cx="1714430" cy="60142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45720" rIns="128016" bIns="4572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kern="1200" dirty="0" smtClean="0"/>
            <a:t>Construcción de referentes</a:t>
          </a:r>
          <a:endParaRPr lang="es-CO" sz="1800" kern="1200" dirty="0"/>
        </a:p>
      </dsp:txBody>
      <dsp:txXfrm>
        <a:off x="3351" y="1074650"/>
        <a:ext cx="1714430" cy="601425"/>
      </dsp:txXfrm>
    </dsp:sp>
    <dsp:sp modelId="{F6011C12-C47D-48F7-AA89-AACEE724CC0F}">
      <dsp:nvSpPr>
        <dsp:cNvPr id="0" name=""/>
        <dsp:cNvSpPr/>
      </dsp:nvSpPr>
      <dsp:spPr>
        <a:xfrm>
          <a:off x="1717781" y="1046458"/>
          <a:ext cx="342886" cy="657808"/>
        </a:xfrm>
        <a:prstGeom prst="leftBrace">
          <a:avLst>
            <a:gd name="adj1" fmla="val 35000"/>
            <a:gd name="adj2" fmla="val 50000"/>
          </a:avLst>
        </a:prstGeom>
        <a:noFill/>
        <a:ln w="1587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FA7EAD1-296E-40CD-93AE-D6CD3F8417E2}">
      <dsp:nvSpPr>
        <dsp:cNvPr id="0" name=""/>
        <dsp:cNvSpPr/>
      </dsp:nvSpPr>
      <dsp:spPr>
        <a:xfrm>
          <a:off x="2197822" y="1046458"/>
          <a:ext cx="4663249" cy="657808"/>
        </a:xfrm>
        <a:prstGeom prst="rect">
          <a:avLst/>
        </a:prstGeom>
        <a:gradFill rotWithShape="0">
          <a:gsLst>
            <a:gs pos="0">
              <a:schemeClr val="accent2">
                <a:hueOff val="1560506"/>
                <a:satOff val="-1946"/>
                <a:lumOff val="458"/>
                <a:alphaOff val="0"/>
                <a:tint val="20000"/>
                <a:satMod val="180000"/>
                <a:lumMod val="98000"/>
              </a:schemeClr>
            </a:gs>
            <a:gs pos="40000">
              <a:schemeClr val="accent2">
                <a:hueOff val="1560506"/>
                <a:satOff val="-1946"/>
                <a:lumOff val="458"/>
                <a:alphaOff val="0"/>
                <a:tint val="30000"/>
                <a:satMod val="260000"/>
                <a:lumMod val="84000"/>
              </a:schemeClr>
            </a:gs>
            <a:gs pos="100000">
              <a:schemeClr val="accent2">
                <a:hueOff val="1560506"/>
                <a:satOff val="-1946"/>
                <a:lumOff val="458"/>
                <a:alphaOff val="0"/>
                <a:tint val="100000"/>
                <a:satMod val="110000"/>
                <a:lumMod val="100000"/>
              </a:schemeClr>
            </a:gs>
          </a:gsLst>
          <a:lin ang="5040000" scaled="1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kumimoji="0" lang="es-MX" sz="1800" u="none" strike="noStrike" kern="1200" cap="none" normalizeH="0" baseline="0" smtClean="0">
              <a:ln/>
              <a:effectLst/>
            </a:rPr>
            <a:t>Mesas sectoriales con sociedad civil, sector privado y academia</a:t>
          </a:r>
          <a:r>
            <a:rPr lang="es-CO" sz="1800" kern="1200" smtClean="0"/>
            <a:t>.</a:t>
          </a:r>
          <a:endParaRPr lang="es-CO" sz="1800" kern="1200" dirty="0"/>
        </a:p>
      </dsp:txBody>
      <dsp:txXfrm>
        <a:off x="2197822" y="1046458"/>
        <a:ext cx="4663249" cy="657808"/>
      </dsp:txXfrm>
    </dsp:sp>
    <dsp:sp modelId="{3A7A7695-5B13-450E-98E6-6395BDCAAF31}">
      <dsp:nvSpPr>
        <dsp:cNvPr id="0" name=""/>
        <dsp:cNvSpPr/>
      </dsp:nvSpPr>
      <dsp:spPr>
        <a:xfrm>
          <a:off x="3351" y="2073260"/>
          <a:ext cx="1714430" cy="84645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45720" rIns="128016" bIns="4572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kern="1200" dirty="0" smtClean="0"/>
            <a:t>Referentes para Instituciones</a:t>
          </a:r>
          <a:endParaRPr lang="es-CO" sz="1800" kern="1200" dirty="0"/>
        </a:p>
      </dsp:txBody>
      <dsp:txXfrm>
        <a:off x="3351" y="2073260"/>
        <a:ext cx="1714430" cy="846450"/>
      </dsp:txXfrm>
    </dsp:sp>
    <dsp:sp modelId="{2F54AE2C-DE06-438F-A8AA-DDE061E301AA}">
      <dsp:nvSpPr>
        <dsp:cNvPr id="0" name=""/>
        <dsp:cNvSpPr/>
      </dsp:nvSpPr>
      <dsp:spPr>
        <a:xfrm>
          <a:off x="1717781" y="1769067"/>
          <a:ext cx="342886" cy="1454835"/>
        </a:xfrm>
        <a:prstGeom prst="leftBrace">
          <a:avLst>
            <a:gd name="adj1" fmla="val 35000"/>
            <a:gd name="adj2" fmla="val 50000"/>
          </a:avLst>
        </a:prstGeom>
        <a:noFill/>
        <a:ln w="1587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5E5D75E-3B36-4A58-8BE9-931EF235A6E1}">
      <dsp:nvSpPr>
        <dsp:cNvPr id="0" name=""/>
        <dsp:cNvSpPr/>
      </dsp:nvSpPr>
      <dsp:spPr>
        <a:xfrm>
          <a:off x="2197822" y="1769067"/>
          <a:ext cx="4663249" cy="1454835"/>
        </a:xfrm>
        <a:prstGeom prst="rect">
          <a:avLst/>
        </a:prstGeom>
        <a:gradFill rotWithShape="0">
          <a:gsLst>
            <a:gs pos="0">
              <a:schemeClr val="accent2">
                <a:hueOff val="3121013"/>
                <a:satOff val="-3893"/>
                <a:lumOff val="915"/>
                <a:alphaOff val="0"/>
                <a:tint val="20000"/>
                <a:satMod val="180000"/>
                <a:lumMod val="98000"/>
              </a:schemeClr>
            </a:gs>
            <a:gs pos="40000">
              <a:schemeClr val="accent2">
                <a:hueOff val="3121013"/>
                <a:satOff val="-3893"/>
                <a:lumOff val="915"/>
                <a:alphaOff val="0"/>
                <a:tint val="30000"/>
                <a:satMod val="260000"/>
                <a:lumMod val="84000"/>
              </a:schemeClr>
            </a:gs>
            <a:gs pos="100000">
              <a:schemeClr val="accent2">
                <a:hueOff val="3121013"/>
                <a:satOff val="-3893"/>
                <a:lumOff val="915"/>
                <a:alphaOff val="0"/>
                <a:tint val="100000"/>
                <a:satMod val="110000"/>
                <a:lumMod val="100000"/>
              </a:schemeClr>
            </a:gs>
          </a:gsLst>
          <a:lin ang="5040000" scaled="1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800" kern="1200" smtClean="0"/>
            <a:t>Muy variadas.</a:t>
          </a:r>
          <a:endParaRPr lang="es-CO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800" kern="1200" smtClean="0"/>
            <a:t>Incluyen: Infraestructura, personal, egresados, equipamiento, reglamentos, identidad, constitución, autonomía, recursos financieros y administrativos.</a:t>
          </a:r>
          <a:endParaRPr lang="es-CO" sz="1800" kern="1200" dirty="0"/>
        </a:p>
      </dsp:txBody>
      <dsp:txXfrm>
        <a:off x="2197822" y="1769067"/>
        <a:ext cx="4663249" cy="1454835"/>
      </dsp:txXfrm>
    </dsp:sp>
    <dsp:sp modelId="{3265399B-BC14-49E3-9B65-605C20A0A563}">
      <dsp:nvSpPr>
        <dsp:cNvPr id="0" name=""/>
        <dsp:cNvSpPr/>
      </dsp:nvSpPr>
      <dsp:spPr>
        <a:xfrm>
          <a:off x="3351" y="3476648"/>
          <a:ext cx="1714430" cy="60142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8016" tIns="45720" rIns="128016" bIns="4572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kern="1200" dirty="0" smtClean="0"/>
            <a:t>Verificación de condiciones</a:t>
          </a:r>
          <a:endParaRPr lang="es-CO" sz="1800" kern="1200" dirty="0"/>
        </a:p>
      </dsp:txBody>
      <dsp:txXfrm>
        <a:off x="3351" y="3476648"/>
        <a:ext cx="1714430" cy="601425"/>
      </dsp:txXfrm>
    </dsp:sp>
    <dsp:sp modelId="{22B9FB7D-296D-44AE-9DD2-23A0D7AF4879}">
      <dsp:nvSpPr>
        <dsp:cNvPr id="0" name=""/>
        <dsp:cNvSpPr/>
      </dsp:nvSpPr>
      <dsp:spPr>
        <a:xfrm>
          <a:off x="1717781" y="3288703"/>
          <a:ext cx="342886" cy="977315"/>
        </a:xfrm>
        <a:prstGeom prst="leftBrace">
          <a:avLst>
            <a:gd name="adj1" fmla="val 35000"/>
            <a:gd name="adj2" fmla="val 50000"/>
          </a:avLst>
        </a:prstGeom>
        <a:noFill/>
        <a:ln w="1587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F9952F8-B1A9-4540-925B-0EC7C52AAA8E}">
      <dsp:nvSpPr>
        <dsp:cNvPr id="0" name=""/>
        <dsp:cNvSpPr/>
      </dsp:nvSpPr>
      <dsp:spPr>
        <a:xfrm>
          <a:off x="2197822" y="3288703"/>
          <a:ext cx="4663249" cy="977315"/>
        </a:xfrm>
        <a:prstGeom prst="rect">
          <a:avLst/>
        </a:prstGeom>
        <a:gradFill rotWithShape="0">
          <a:gsLst>
            <a:gs pos="0">
              <a:schemeClr val="accent2">
                <a:hueOff val="4681519"/>
                <a:satOff val="-5839"/>
                <a:lumOff val="1373"/>
                <a:alphaOff val="0"/>
                <a:tint val="20000"/>
                <a:satMod val="180000"/>
                <a:lumMod val="98000"/>
              </a:schemeClr>
            </a:gs>
            <a:gs pos="40000">
              <a:schemeClr val="accent2">
                <a:hueOff val="4681519"/>
                <a:satOff val="-5839"/>
                <a:lumOff val="1373"/>
                <a:alphaOff val="0"/>
                <a:tint val="30000"/>
                <a:satMod val="260000"/>
                <a:lumMod val="84000"/>
              </a:schemeClr>
            </a:gs>
            <a:gs pos="100000">
              <a:schemeClr val="accent2">
                <a:hueOff val="4681519"/>
                <a:satOff val="-5839"/>
                <a:lumOff val="1373"/>
                <a:alphaOff val="0"/>
                <a:tint val="100000"/>
                <a:satMod val="110000"/>
                <a:lumMod val="100000"/>
              </a:schemeClr>
            </a:gs>
          </a:gsLst>
          <a:lin ang="5040000" scaled="1"/>
        </a:gra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800" kern="1200" smtClean="0"/>
            <a:t>Autoevaluación.</a:t>
          </a:r>
          <a:endParaRPr lang="es-CO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800" kern="1200" smtClean="0"/>
            <a:t>Auditoría de Gestión.</a:t>
          </a:r>
          <a:endParaRPr lang="es-CO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800" kern="1200" smtClean="0"/>
            <a:t>Evaluación “in situ”.</a:t>
          </a:r>
          <a:endParaRPr lang="es-CO" sz="1800" kern="1200" dirty="0"/>
        </a:p>
      </dsp:txBody>
      <dsp:txXfrm>
        <a:off x="2197822" y="3288703"/>
        <a:ext cx="4663249" cy="977315"/>
      </dsp:txXfrm>
    </dsp:sp>
  </dsp:spTree>
</dsp:drawing>
</file>

<file path=ppt/diagrams/drawing20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D3D686D0-99C3-4190-B6A0-20DCCA5E384B}">
      <dsp:nvSpPr>
        <dsp:cNvPr id="0" name=""/>
        <dsp:cNvSpPr/>
      </dsp:nvSpPr>
      <dsp:spPr>
        <a:xfrm>
          <a:off x="-3718110" y="-575127"/>
          <a:ext cx="4462622" cy="4462622"/>
        </a:xfrm>
        <a:prstGeom prst="blockArc">
          <a:avLst>
            <a:gd name="adj1" fmla="val 18900000"/>
            <a:gd name="adj2" fmla="val 2700000"/>
            <a:gd name="adj3" fmla="val 484"/>
          </a:avLst>
        </a:prstGeom>
        <a:noFill/>
        <a:ln w="1587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D428FBD-253A-4012-A4A5-2E44C8821FD9}">
      <dsp:nvSpPr>
        <dsp:cNvPr id="0" name=""/>
        <dsp:cNvSpPr/>
      </dsp:nvSpPr>
      <dsp:spPr>
        <a:xfrm>
          <a:off x="608896" y="473204"/>
          <a:ext cx="4414191" cy="946277"/>
        </a:xfrm>
        <a:prstGeom prst="rect">
          <a:avLst/>
        </a:prstGeom>
        <a:solidFill>
          <a:schemeClr val="accent6">
            <a:lumMod val="75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51108" tIns="50800" rIns="50800" bIns="50800" numCol="1" spcCol="1270" anchor="ctr" anchorCtr="0">
          <a:noAutofit/>
        </a:bodyPr>
        <a:lstStyle/>
        <a:p>
          <a:pPr lvl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000" b="1" kern="1200" smtClean="0"/>
            <a:t>Secretaria de Educación Departamental del Chocó </a:t>
          </a:r>
          <a:endParaRPr lang="es-CO" sz="2000" kern="1200" dirty="0"/>
        </a:p>
      </dsp:txBody>
      <dsp:txXfrm>
        <a:off x="608896" y="473204"/>
        <a:ext cx="4414191" cy="946277"/>
      </dsp:txXfrm>
    </dsp:sp>
    <dsp:sp modelId="{DCEC000F-4A08-4832-9DCF-5901FF569EB7}">
      <dsp:nvSpPr>
        <dsp:cNvPr id="0" name=""/>
        <dsp:cNvSpPr/>
      </dsp:nvSpPr>
      <dsp:spPr>
        <a:xfrm>
          <a:off x="17472" y="354920"/>
          <a:ext cx="1182846" cy="118284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A4A9346-289E-410F-B168-97B69C7A4C00}">
      <dsp:nvSpPr>
        <dsp:cNvPr id="0" name=""/>
        <dsp:cNvSpPr/>
      </dsp:nvSpPr>
      <dsp:spPr>
        <a:xfrm>
          <a:off x="608896" y="1892885"/>
          <a:ext cx="4414191" cy="946277"/>
        </a:xfrm>
        <a:prstGeom prst="rect">
          <a:avLst/>
        </a:prstGeom>
        <a:solidFill>
          <a:schemeClr val="accent6">
            <a:lumMod val="75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51108" tIns="50800" rIns="50800" bIns="50800" numCol="1" spcCol="1270" anchor="ctr" anchorCtr="0">
          <a:noAutofit/>
        </a:bodyPr>
        <a:lstStyle/>
        <a:p>
          <a:pPr lvl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000" b="1" kern="1200" dirty="0" smtClean="0"/>
            <a:t>Secretaría de Educación Municipal Certificada de Popayán</a:t>
          </a:r>
          <a:endParaRPr lang="es-CO" sz="2000" kern="1200" dirty="0"/>
        </a:p>
      </dsp:txBody>
      <dsp:txXfrm>
        <a:off x="608896" y="1892885"/>
        <a:ext cx="4414191" cy="946277"/>
      </dsp:txXfrm>
    </dsp:sp>
    <dsp:sp modelId="{317D7CD7-2790-4434-BD6B-E7BEFAB7AF3F}">
      <dsp:nvSpPr>
        <dsp:cNvPr id="0" name=""/>
        <dsp:cNvSpPr/>
      </dsp:nvSpPr>
      <dsp:spPr>
        <a:xfrm>
          <a:off x="17472" y="1774601"/>
          <a:ext cx="1182846" cy="118284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hueOff val="4681519"/>
              <a:satOff val="-5839"/>
              <a:lumOff val="1373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D3D686D0-99C3-4190-B6A0-20DCCA5E384B}">
      <dsp:nvSpPr>
        <dsp:cNvPr id="0" name=""/>
        <dsp:cNvSpPr/>
      </dsp:nvSpPr>
      <dsp:spPr>
        <a:xfrm>
          <a:off x="-3718110" y="-575127"/>
          <a:ext cx="4462622" cy="4462622"/>
        </a:xfrm>
        <a:prstGeom prst="blockArc">
          <a:avLst>
            <a:gd name="adj1" fmla="val 18900000"/>
            <a:gd name="adj2" fmla="val 2700000"/>
            <a:gd name="adj3" fmla="val 484"/>
          </a:avLst>
        </a:prstGeom>
        <a:noFill/>
        <a:ln w="15875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D428FBD-253A-4012-A4A5-2E44C8821FD9}">
      <dsp:nvSpPr>
        <dsp:cNvPr id="0" name=""/>
        <dsp:cNvSpPr/>
      </dsp:nvSpPr>
      <dsp:spPr>
        <a:xfrm>
          <a:off x="608896" y="473204"/>
          <a:ext cx="4414191" cy="946277"/>
        </a:xfrm>
        <a:prstGeom prst="rect">
          <a:avLst/>
        </a:prstGeom>
        <a:solidFill>
          <a:schemeClr val="accent6">
            <a:lumMod val="75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51108" tIns="50800" rIns="50800" bIns="50800" numCol="1" spcCol="1270" anchor="ctr" anchorCtr="0">
          <a:noAutofit/>
        </a:bodyPr>
        <a:lstStyle/>
        <a:p>
          <a:pPr lvl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000" b="1" kern="1200" dirty="0" smtClean="0"/>
            <a:t>Secretaría de Educación Certificada de Pasto</a:t>
          </a:r>
          <a:endParaRPr lang="es-CO" sz="2000" kern="1200" dirty="0"/>
        </a:p>
      </dsp:txBody>
      <dsp:txXfrm>
        <a:off x="608896" y="473204"/>
        <a:ext cx="4414191" cy="946277"/>
      </dsp:txXfrm>
    </dsp:sp>
    <dsp:sp modelId="{DCEC000F-4A08-4832-9DCF-5901FF569EB7}">
      <dsp:nvSpPr>
        <dsp:cNvPr id="0" name=""/>
        <dsp:cNvSpPr/>
      </dsp:nvSpPr>
      <dsp:spPr>
        <a:xfrm>
          <a:off x="17472" y="354920"/>
          <a:ext cx="1182846" cy="118284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A4A9346-289E-410F-B168-97B69C7A4C00}">
      <dsp:nvSpPr>
        <dsp:cNvPr id="0" name=""/>
        <dsp:cNvSpPr/>
      </dsp:nvSpPr>
      <dsp:spPr>
        <a:xfrm>
          <a:off x="608896" y="1892885"/>
          <a:ext cx="4414191" cy="946277"/>
        </a:xfrm>
        <a:prstGeom prst="rect">
          <a:avLst/>
        </a:prstGeom>
        <a:solidFill>
          <a:schemeClr val="accent6">
            <a:lumMod val="75000"/>
          </a:schemeClr>
        </a:solidFill>
        <a:ln w="1587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51108" tIns="50800" rIns="50800" bIns="50800" numCol="1" spcCol="1270" anchor="ctr" anchorCtr="0">
          <a:noAutofit/>
        </a:bodyPr>
        <a:lstStyle/>
        <a:p>
          <a:pPr lvl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000" b="1" kern="1200" dirty="0" smtClean="0"/>
            <a:t>Secretaría de Educación Certificada de Sucre</a:t>
          </a:r>
          <a:endParaRPr lang="es-CO" sz="2000" kern="1200" dirty="0"/>
        </a:p>
      </dsp:txBody>
      <dsp:txXfrm>
        <a:off x="608896" y="1892885"/>
        <a:ext cx="4414191" cy="946277"/>
      </dsp:txXfrm>
    </dsp:sp>
    <dsp:sp modelId="{317D7CD7-2790-4434-BD6B-E7BEFAB7AF3F}">
      <dsp:nvSpPr>
        <dsp:cNvPr id="0" name=""/>
        <dsp:cNvSpPr/>
      </dsp:nvSpPr>
      <dsp:spPr>
        <a:xfrm>
          <a:off x="17472" y="1774601"/>
          <a:ext cx="1182846" cy="1182846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hueOff val="4681519"/>
              <a:satOff val="-5839"/>
              <a:lumOff val="1373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2CCCEE37-84CC-4FFB-BDD2-2EBFE568AA78}">
      <dsp:nvSpPr>
        <dsp:cNvPr id="0" name=""/>
        <dsp:cNvSpPr/>
      </dsp:nvSpPr>
      <dsp:spPr>
        <a:xfrm rot="10800000">
          <a:off x="1040873" y="1973"/>
          <a:ext cx="3495628" cy="474632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9300" tIns="76200" rIns="142240" bIns="76200" numCol="1" spcCol="1270" anchor="ctr" anchorCtr="0">
          <a:noAutofit/>
        </a:bodyPr>
        <a:lstStyle/>
        <a:p>
          <a:pPr lvl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000" b="0" kern="1200" dirty="0" smtClean="0">
              <a:effectLst/>
            </a:rPr>
            <a:t>Acceso a los estudiantes</a:t>
          </a:r>
          <a:endParaRPr lang="es-MX" sz="2000" b="0" u="none" kern="1200" dirty="0">
            <a:latin typeface="+mn-lt"/>
            <a:ea typeface="Verdana" pitchFamily="34" charset="0"/>
            <a:cs typeface="Verdana" pitchFamily="34" charset="0"/>
          </a:endParaRPr>
        </a:p>
      </dsp:txBody>
      <dsp:txXfrm rot="10800000">
        <a:off x="1040873" y="1973"/>
        <a:ext cx="3495628" cy="474632"/>
      </dsp:txXfrm>
    </dsp:sp>
    <dsp:sp modelId="{A06848A9-0673-48CE-9E8A-C7D28F82CB08}">
      <dsp:nvSpPr>
        <dsp:cNvPr id="0" name=""/>
        <dsp:cNvSpPr/>
      </dsp:nvSpPr>
      <dsp:spPr>
        <a:xfrm>
          <a:off x="761819" y="1973"/>
          <a:ext cx="474632" cy="474632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B193312-33B7-41DB-8266-60D47758DE09}">
      <dsp:nvSpPr>
        <dsp:cNvPr id="0" name=""/>
        <dsp:cNvSpPr/>
      </dsp:nvSpPr>
      <dsp:spPr>
        <a:xfrm rot="10800000">
          <a:off x="999135" y="618287"/>
          <a:ext cx="3495628" cy="474632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9300" tIns="76200" rIns="142240" bIns="76200" numCol="1" spcCol="1270" anchor="ctr" anchorCtr="0">
          <a:noAutofit/>
        </a:bodyPr>
        <a:lstStyle/>
        <a:p>
          <a:pPr lvl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000" b="0" kern="1200" smtClean="0">
              <a:effectLst/>
            </a:rPr>
            <a:t>Pertinencia</a:t>
          </a:r>
          <a:endParaRPr lang="es-ES" sz="2000" b="0" u="none" kern="1200" dirty="0">
            <a:latin typeface="+mn-lt"/>
            <a:ea typeface="Verdana" pitchFamily="34" charset="0"/>
            <a:cs typeface="Verdana" pitchFamily="34" charset="0"/>
          </a:endParaRPr>
        </a:p>
      </dsp:txBody>
      <dsp:txXfrm rot="10800000">
        <a:off x="999135" y="618287"/>
        <a:ext cx="3495628" cy="474632"/>
      </dsp:txXfrm>
    </dsp:sp>
    <dsp:sp modelId="{F51A1092-1BF9-4BE6-9117-17E5E6F22E72}">
      <dsp:nvSpPr>
        <dsp:cNvPr id="0" name=""/>
        <dsp:cNvSpPr/>
      </dsp:nvSpPr>
      <dsp:spPr>
        <a:xfrm>
          <a:off x="761819" y="618287"/>
          <a:ext cx="474632" cy="474632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F18C1D2-6ADA-4641-9B24-CC4618FC4740}">
      <dsp:nvSpPr>
        <dsp:cNvPr id="0" name=""/>
        <dsp:cNvSpPr/>
      </dsp:nvSpPr>
      <dsp:spPr>
        <a:xfrm rot="10800000">
          <a:off x="999135" y="1234601"/>
          <a:ext cx="3495628" cy="474632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9300" tIns="76200" rIns="142240" bIns="76200" numCol="1" spcCol="1270" anchor="ctr" anchorCtr="0">
          <a:noAutofit/>
        </a:bodyPr>
        <a:lstStyle/>
        <a:p>
          <a:pPr lvl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000" b="0" kern="1200" smtClean="0">
              <a:effectLst/>
            </a:rPr>
            <a:t>Calidad</a:t>
          </a:r>
          <a:endParaRPr lang="es-ES" sz="2000" b="0" u="none" kern="1200" dirty="0" smtClean="0">
            <a:latin typeface="+mn-lt"/>
            <a:ea typeface="Verdana" pitchFamily="34" charset="0"/>
            <a:cs typeface="Verdana" pitchFamily="34" charset="0"/>
          </a:endParaRPr>
        </a:p>
      </dsp:txBody>
      <dsp:txXfrm rot="10800000">
        <a:off x="999135" y="1234601"/>
        <a:ext cx="3495628" cy="474632"/>
      </dsp:txXfrm>
    </dsp:sp>
    <dsp:sp modelId="{D7E96CD7-291D-4F79-9F19-3452B2318A55}">
      <dsp:nvSpPr>
        <dsp:cNvPr id="0" name=""/>
        <dsp:cNvSpPr/>
      </dsp:nvSpPr>
      <dsp:spPr>
        <a:xfrm>
          <a:off x="761819" y="1234601"/>
          <a:ext cx="474632" cy="474632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AE909C7-1A72-49A1-8605-F721FA41BE03}">
      <dsp:nvSpPr>
        <dsp:cNvPr id="0" name=""/>
        <dsp:cNvSpPr/>
      </dsp:nvSpPr>
      <dsp:spPr>
        <a:xfrm rot="10800000">
          <a:off x="999135" y="1850915"/>
          <a:ext cx="3495628" cy="474632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9300" tIns="76200" rIns="142240" bIns="76200" numCol="1" spcCol="1270" anchor="ctr" anchorCtr="0">
          <a:noAutofit/>
        </a:bodyPr>
        <a:lstStyle/>
        <a:p>
          <a:pPr lvl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u="none" kern="1200" smtClean="0">
              <a:latin typeface="+mn-lt"/>
              <a:ea typeface="Verdana" pitchFamily="34" charset="0"/>
              <a:cs typeface="Verdana" pitchFamily="34" charset="0"/>
            </a:rPr>
            <a:t>Atención a los estudiantes</a:t>
          </a:r>
          <a:endParaRPr lang="es-ES" sz="2000" u="none" kern="1200" dirty="0" smtClean="0">
            <a:latin typeface="+mn-lt"/>
            <a:ea typeface="Verdana" pitchFamily="34" charset="0"/>
            <a:cs typeface="Verdana" pitchFamily="34" charset="0"/>
          </a:endParaRPr>
        </a:p>
      </dsp:txBody>
      <dsp:txXfrm rot="10800000">
        <a:off x="999135" y="1850915"/>
        <a:ext cx="3495628" cy="474632"/>
      </dsp:txXfrm>
    </dsp:sp>
    <dsp:sp modelId="{6288DD77-D563-41B6-9A71-BDEE5BB6B562}">
      <dsp:nvSpPr>
        <dsp:cNvPr id="0" name=""/>
        <dsp:cNvSpPr/>
      </dsp:nvSpPr>
      <dsp:spPr>
        <a:xfrm>
          <a:off x="761819" y="1850915"/>
          <a:ext cx="474632" cy="474632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B613E25-42F8-4BAE-B401-6C6AF07BFF2C}">
      <dsp:nvSpPr>
        <dsp:cNvPr id="0" name=""/>
        <dsp:cNvSpPr/>
      </dsp:nvSpPr>
      <dsp:spPr>
        <a:xfrm rot="10800000">
          <a:off x="999135" y="2467229"/>
          <a:ext cx="3495628" cy="474632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9300" tIns="76200" rIns="142240" bIns="76200" numCol="1" spcCol="1270" anchor="ctr" anchorCtr="0">
          <a:noAutofit/>
        </a:bodyPr>
        <a:lstStyle/>
        <a:p>
          <a:pPr lvl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u="none" kern="1200" smtClean="0">
              <a:latin typeface="+mn-lt"/>
              <a:ea typeface="Verdana" pitchFamily="34" charset="0"/>
              <a:cs typeface="Verdana" pitchFamily="34" charset="0"/>
            </a:rPr>
            <a:t>Gestión de infraestructura</a:t>
          </a:r>
          <a:endParaRPr lang="es-ES" sz="2000" u="none" kern="1200" dirty="0" smtClean="0">
            <a:latin typeface="+mn-lt"/>
            <a:ea typeface="Verdana" pitchFamily="34" charset="0"/>
            <a:cs typeface="Verdana" pitchFamily="34" charset="0"/>
          </a:endParaRPr>
        </a:p>
      </dsp:txBody>
      <dsp:txXfrm rot="10800000">
        <a:off x="999135" y="2467229"/>
        <a:ext cx="3495628" cy="474632"/>
      </dsp:txXfrm>
    </dsp:sp>
    <dsp:sp modelId="{5D277EAD-0FD1-43D3-AF2B-35C5DF3751DA}">
      <dsp:nvSpPr>
        <dsp:cNvPr id="0" name=""/>
        <dsp:cNvSpPr/>
      </dsp:nvSpPr>
      <dsp:spPr>
        <a:xfrm>
          <a:off x="761819" y="2467229"/>
          <a:ext cx="474632" cy="474632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26CCEF8-82D4-4B90-A6C9-5BCD7A6F2846}">
      <dsp:nvSpPr>
        <dsp:cNvPr id="0" name=""/>
        <dsp:cNvSpPr/>
      </dsp:nvSpPr>
      <dsp:spPr>
        <a:xfrm rot="10800000">
          <a:off x="999135" y="3083543"/>
          <a:ext cx="3495628" cy="474632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9300" tIns="76200" rIns="142240" bIns="76200" numCol="1" spcCol="1270" anchor="ctr" anchorCtr="0">
          <a:noAutofit/>
        </a:bodyPr>
        <a:lstStyle/>
        <a:p>
          <a:pPr lvl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u="none" kern="1200" smtClean="0">
              <a:latin typeface="+mn-lt"/>
              <a:ea typeface="Verdana" pitchFamily="34" charset="0"/>
              <a:cs typeface="Verdana" pitchFamily="34" charset="0"/>
            </a:rPr>
            <a:t>Gestión Financiera</a:t>
          </a:r>
          <a:endParaRPr lang="es-ES" sz="2000" u="none" kern="1200" dirty="0" smtClean="0">
            <a:latin typeface="+mn-lt"/>
            <a:ea typeface="Verdana" pitchFamily="34" charset="0"/>
            <a:cs typeface="Verdana" pitchFamily="34" charset="0"/>
          </a:endParaRPr>
        </a:p>
      </dsp:txBody>
      <dsp:txXfrm rot="10800000">
        <a:off x="999135" y="3083543"/>
        <a:ext cx="3495628" cy="474632"/>
      </dsp:txXfrm>
    </dsp:sp>
    <dsp:sp modelId="{B2854D78-6E94-43C3-A6BD-7F859875FB21}">
      <dsp:nvSpPr>
        <dsp:cNvPr id="0" name=""/>
        <dsp:cNvSpPr/>
      </dsp:nvSpPr>
      <dsp:spPr>
        <a:xfrm>
          <a:off x="761819" y="3083543"/>
          <a:ext cx="474632" cy="474632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0803A22-6498-4D4E-B0E1-07DE9D6E12E4}">
      <dsp:nvSpPr>
        <dsp:cNvPr id="0" name=""/>
        <dsp:cNvSpPr/>
      </dsp:nvSpPr>
      <dsp:spPr>
        <a:xfrm rot="10800000">
          <a:off x="999135" y="3699857"/>
          <a:ext cx="3495628" cy="474632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9300" tIns="76200" rIns="142240" bIns="76200" numCol="1" spcCol="1270" anchor="ctr" anchorCtr="0">
          <a:noAutofit/>
        </a:bodyPr>
        <a:lstStyle/>
        <a:p>
          <a:pPr lvl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u="none" kern="1200" smtClean="0">
              <a:latin typeface="+mn-lt"/>
              <a:ea typeface="Verdana" pitchFamily="34" charset="0"/>
              <a:cs typeface="Verdana" pitchFamily="34" charset="0"/>
            </a:rPr>
            <a:t>Gestión institucional</a:t>
          </a:r>
          <a:endParaRPr lang="es-ES" sz="2000" u="none" kern="1200" dirty="0" smtClean="0">
            <a:latin typeface="+mn-lt"/>
            <a:ea typeface="Verdana" pitchFamily="34" charset="0"/>
            <a:cs typeface="Verdana" pitchFamily="34" charset="0"/>
          </a:endParaRPr>
        </a:p>
      </dsp:txBody>
      <dsp:txXfrm rot="10800000">
        <a:off x="999135" y="3699857"/>
        <a:ext cx="3495628" cy="474632"/>
      </dsp:txXfrm>
    </dsp:sp>
    <dsp:sp modelId="{320DF2A9-02E9-4BB2-B169-9A778D9EF313}">
      <dsp:nvSpPr>
        <dsp:cNvPr id="0" name=""/>
        <dsp:cNvSpPr/>
      </dsp:nvSpPr>
      <dsp:spPr>
        <a:xfrm>
          <a:off x="761819" y="3699857"/>
          <a:ext cx="474632" cy="474632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2CCCEE37-84CC-4FFB-BDD2-2EBFE568AA78}">
      <dsp:nvSpPr>
        <dsp:cNvPr id="0" name=""/>
        <dsp:cNvSpPr/>
      </dsp:nvSpPr>
      <dsp:spPr>
        <a:xfrm rot="10800000">
          <a:off x="1022136" y="1466"/>
          <a:ext cx="3495628" cy="566635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9871" tIns="76200" rIns="142240" bIns="76200" numCol="1" spcCol="1270" anchor="ctr" anchorCtr="0">
          <a:noAutofit/>
        </a:bodyPr>
        <a:lstStyle/>
        <a:p>
          <a:pPr lvl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ES" sz="2000" u="none" kern="1200" smtClean="0">
              <a:latin typeface="+mn-lt"/>
              <a:ea typeface="Verdana" pitchFamily="34" charset="0"/>
              <a:cs typeface="Verdana" pitchFamily="34" charset="0"/>
            </a:rPr>
            <a:t>Relevancia</a:t>
          </a:r>
          <a:endParaRPr lang="es-MX" sz="2000" u="none" kern="1200" dirty="0">
            <a:latin typeface="+mn-lt"/>
            <a:ea typeface="Verdana" pitchFamily="34" charset="0"/>
            <a:cs typeface="Verdana" pitchFamily="34" charset="0"/>
          </a:endParaRPr>
        </a:p>
      </dsp:txBody>
      <dsp:txXfrm rot="10800000">
        <a:off x="1022136" y="1466"/>
        <a:ext cx="3495628" cy="566635"/>
      </dsp:txXfrm>
    </dsp:sp>
    <dsp:sp modelId="{A06848A9-0673-48CE-9E8A-C7D28F82CB08}">
      <dsp:nvSpPr>
        <dsp:cNvPr id="0" name=""/>
        <dsp:cNvSpPr/>
      </dsp:nvSpPr>
      <dsp:spPr>
        <a:xfrm>
          <a:off x="738818" y="1466"/>
          <a:ext cx="566635" cy="566635"/>
        </a:xfrm>
        <a:prstGeom prst="ellipse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FDFC23A-E9FA-4EFC-95DC-F052523EAEAB}">
      <dsp:nvSpPr>
        <dsp:cNvPr id="0" name=""/>
        <dsp:cNvSpPr/>
      </dsp:nvSpPr>
      <dsp:spPr>
        <a:xfrm rot="10800000">
          <a:off x="1022136" y="737247"/>
          <a:ext cx="3495628" cy="566635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9871" tIns="76200" rIns="142240" bIns="76200" numCol="1" spcCol="1270" anchor="ctr" anchorCtr="0">
          <a:noAutofit/>
        </a:bodyPr>
        <a:lstStyle/>
        <a:p>
          <a:pPr lvl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2000" u="none" kern="1200" dirty="0" smtClean="0">
              <a:latin typeface="+mn-lt"/>
              <a:ea typeface="Verdana" pitchFamily="34" charset="0"/>
              <a:cs typeface="Verdana" pitchFamily="34" charset="0"/>
            </a:rPr>
            <a:t>Permanencia</a:t>
          </a:r>
          <a:endParaRPr lang="es-MX" sz="2000" u="none" kern="1200" dirty="0">
            <a:latin typeface="+mn-lt"/>
            <a:ea typeface="Verdana" pitchFamily="34" charset="0"/>
            <a:cs typeface="Verdana" pitchFamily="34" charset="0"/>
          </a:endParaRPr>
        </a:p>
      </dsp:txBody>
      <dsp:txXfrm rot="10800000">
        <a:off x="1022136" y="737247"/>
        <a:ext cx="3495628" cy="566635"/>
      </dsp:txXfrm>
    </dsp:sp>
    <dsp:sp modelId="{D6AB906A-08BF-444F-AD94-8F4F589D9748}">
      <dsp:nvSpPr>
        <dsp:cNvPr id="0" name=""/>
        <dsp:cNvSpPr/>
      </dsp:nvSpPr>
      <dsp:spPr>
        <a:xfrm>
          <a:off x="738818" y="737247"/>
          <a:ext cx="566635" cy="566635"/>
        </a:xfrm>
        <a:prstGeom prst="ellipse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A81C47D-A3FB-4A37-9F8B-75D10D6E8A00}">
      <dsp:nvSpPr>
        <dsp:cNvPr id="0" name=""/>
        <dsp:cNvSpPr/>
      </dsp:nvSpPr>
      <dsp:spPr>
        <a:xfrm rot="10800000">
          <a:off x="1022136" y="1473027"/>
          <a:ext cx="3495628" cy="566635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9871" tIns="76200" rIns="142240" bIns="76200" numCol="1" spcCol="1270" anchor="ctr" anchorCtr="0">
          <a:noAutofit/>
        </a:bodyPr>
        <a:lstStyle/>
        <a:p>
          <a:pPr lvl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2000" u="none" kern="1200" smtClean="0">
              <a:latin typeface="+mn-lt"/>
              <a:ea typeface="Verdana" pitchFamily="34" charset="0"/>
              <a:cs typeface="Verdana" pitchFamily="34" charset="0"/>
            </a:rPr>
            <a:t>Apoyo a los estudiantes</a:t>
          </a:r>
          <a:endParaRPr lang="es-MX" sz="2000" u="none" kern="1200" dirty="0">
            <a:latin typeface="+mn-lt"/>
            <a:ea typeface="Verdana" pitchFamily="34" charset="0"/>
            <a:cs typeface="Verdana" pitchFamily="34" charset="0"/>
          </a:endParaRPr>
        </a:p>
      </dsp:txBody>
      <dsp:txXfrm rot="10800000">
        <a:off x="1022136" y="1473027"/>
        <a:ext cx="3495628" cy="566635"/>
      </dsp:txXfrm>
    </dsp:sp>
    <dsp:sp modelId="{4B922227-45CE-4E2F-B288-CE179C39C995}">
      <dsp:nvSpPr>
        <dsp:cNvPr id="0" name=""/>
        <dsp:cNvSpPr/>
      </dsp:nvSpPr>
      <dsp:spPr>
        <a:xfrm>
          <a:off x="738818" y="1473027"/>
          <a:ext cx="566635" cy="566635"/>
        </a:xfrm>
        <a:prstGeom prst="ellipse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15F9641-0CCC-44A1-A251-AC2E59AC5AD1}">
      <dsp:nvSpPr>
        <dsp:cNvPr id="0" name=""/>
        <dsp:cNvSpPr/>
      </dsp:nvSpPr>
      <dsp:spPr>
        <a:xfrm rot="10800000">
          <a:off x="1022136" y="2208808"/>
          <a:ext cx="3495628" cy="566635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9871" tIns="76200" rIns="142240" bIns="76200" numCol="1" spcCol="1270" anchor="ctr" anchorCtr="0">
          <a:noAutofit/>
        </a:bodyPr>
        <a:lstStyle/>
        <a:p>
          <a:pPr lvl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2000" u="none" kern="1200" smtClean="0">
              <a:latin typeface="+mn-lt"/>
              <a:ea typeface="Verdana" pitchFamily="34" charset="0"/>
              <a:cs typeface="Verdana" pitchFamily="34" charset="0"/>
            </a:rPr>
            <a:t>Acceso sector productivo</a:t>
          </a:r>
          <a:endParaRPr lang="es-MX" sz="2000" u="none" kern="1200" dirty="0">
            <a:latin typeface="+mn-lt"/>
            <a:ea typeface="Verdana" pitchFamily="34" charset="0"/>
            <a:cs typeface="Verdana" pitchFamily="34" charset="0"/>
          </a:endParaRPr>
        </a:p>
      </dsp:txBody>
      <dsp:txXfrm rot="10800000">
        <a:off x="1022136" y="2208808"/>
        <a:ext cx="3495628" cy="566635"/>
      </dsp:txXfrm>
    </dsp:sp>
    <dsp:sp modelId="{3F7AA024-1F19-4421-9CF0-A820B84FFCBF}">
      <dsp:nvSpPr>
        <dsp:cNvPr id="0" name=""/>
        <dsp:cNvSpPr/>
      </dsp:nvSpPr>
      <dsp:spPr>
        <a:xfrm>
          <a:off x="738818" y="2208808"/>
          <a:ext cx="566635" cy="566635"/>
        </a:xfrm>
        <a:prstGeom prst="ellipse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396FCAF-D882-47BB-B229-C8C8749A112D}">
      <dsp:nvSpPr>
        <dsp:cNvPr id="0" name=""/>
        <dsp:cNvSpPr/>
      </dsp:nvSpPr>
      <dsp:spPr>
        <a:xfrm rot="10800000">
          <a:off x="1022136" y="2944589"/>
          <a:ext cx="3495628" cy="566635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9871" tIns="76200" rIns="142240" bIns="76200" numCol="1" spcCol="1270" anchor="ctr" anchorCtr="0">
          <a:noAutofit/>
        </a:bodyPr>
        <a:lstStyle/>
        <a:p>
          <a:pPr lvl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2000" u="none" kern="1200" smtClean="0">
              <a:latin typeface="+mn-lt"/>
              <a:ea typeface="Verdana" pitchFamily="34" charset="0"/>
              <a:cs typeface="Verdana" pitchFamily="34" charset="0"/>
            </a:rPr>
            <a:t>Articulación educativa</a:t>
          </a:r>
          <a:endParaRPr lang="es-MX" sz="2000" u="none" kern="1200" dirty="0">
            <a:latin typeface="+mn-lt"/>
            <a:ea typeface="Verdana" pitchFamily="34" charset="0"/>
            <a:cs typeface="Verdana" pitchFamily="34" charset="0"/>
          </a:endParaRPr>
        </a:p>
      </dsp:txBody>
      <dsp:txXfrm rot="10800000">
        <a:off x="1022136" y="2944589"/>
        <a:ext cx="3495628" cy="566635"/>
      </dsp:txXfrm>
    </dsp:sp>
    <dsp:sp modelId="{BA7EA86A-870E-48D7-9790-E8125ECB2E09}">
      <dsp:nvSpPr>
        <dsp:cNvPr id="0" name=""/>
        <dsp:cNvSpPr/>
      </dsp:nvSpPr>
      <dsp:spPr>
        <a:xfrm>
          <a:off x="738818" y="2944589"/>
          <a:ext cx="566635" cy="566635"/>
        </a:xfrm>
        <a:prstGeom prst="ellipse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2611F49-B841-4787-8EDC-56CB38E0980C}">
      <dsp:nvSpPr>
        <dsp:cNvPr id="0" name=""/>
        <dsp:cNvSpPr/>
      </dsp:nvSpPr>
      <dsp:spPr>
        <a:xfrm rot="10800000">
          <a:off x="1022136" y="3680369"/>
          <a:ext cx="3495628" cy="566635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9871" tIns="76200" rIns="142240" bIns="76200" numCol="1" spcCol="1270" anchor="ctr" anchorCtr="0">
          <a:noAutofit/>
        </a:bodyPr>
        <a:lstStyle/>
        <a:p>
          <a:pPr lvl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2000" u="none" kern="1200" smtClean="0">
              <a:latin typeface="+mn-lt"/>
              <a:ea typeface="Verdana" pitchFamily="34" charset="0"/>
              <a:cs typeface="Verdana" pitchFamily="34" charset="0"/>
            </a:rPr>
            <a:t>Divulgación de la oferta</a:t>
          </a:r>
          <a:endParaRPr lang="es-MX" sz="2000" u="none" kern="1200" dirty="0">
            <a:latin typeface="+mn-lt"/>
            <a:ea typeface="Verdana" pitchFamily="34" charset="0"/>
            <a:cs typeface="Verdana" pitchFamily="34" charset="0"/>
          </a:endParaRPr>
        </a:p>
      </dsp:txBody>
      <dsp:txXfrm rot="10800000">
        <a:off x="1022136" y="3680369"/>
        <a:ext cx="3495628" cy="566635"/>
      </dsp:txXfrm>
    </dsp:sp>
    <dsp:sp modelId="{84FEFB6A-981F-4DA3-9096-A5A1C6AD2A85}">
      <dsp:nvSpPr>
        <dsp:cNvPr id="0" name=""/>
        <dsp:cNvSpPr/>
      </dsp:nvSpPr>
      <dsp:spPr>
        <a:xfrm>
          <a:off x="738818" y="3680369"/>
          <a:ext cx="566635" cy="566635"/>
        </a:xfrm>
        <a:prstGeom prst="ellipse">
          <a:avLst/>
        </a:prstGeom>
        <a:solidFill>
          <a:schemeClr val="accent2"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2CCCEE37-84CC-4FFB-BDD2-2EBFE568AA78}">
      <dsp:nvSpPr>
        <dsp:cNvPr id="0" name=""/>
        <dsp:cNvSpPr/>
      </dsp:nvSpPr>
      <dsp:spPr>
        <a:xfrm rot="10800000">
          <a:off x="1061509" y="895"/>
          <a:ext cx="3495628" cy="557177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5700" tIns="76200" rIns="142240" bIns="76200" numCol="1" spcCol="1270" anchor="ctr" anchorCtr="0">
          <a:noAutofit/>
        </a:bodyPr>
        <a:lstStyle/>
        <a:p>
          <a:pPr lvl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2000" b="0" kern="1200" smtClean="0">
              <a:effectLst/>
            </a:rPr>
            <a:t>Perfil de egreso</a:t>
          </a:r>
          <a:endParaRPr lang="es-MX" sz="2000" b="0" u="none" kern="1200" dirty="0">
            <a:latin typeface="+mn-lt"/>
            <a:ea typeface="Verdana" pitchFamily="34" charset="0"/>
            <a:cs typeface="Verdana" pitchFamily="34" charset="0"/>
          </a:endParaRPr>
        </a:p>
      </dsp:txBody>
      <dsp:txXfrm rot="10800000">
        <a:off x="1061509" y="895"/>
        <a:ext cx="3495628" cy="557177"/>
      </dsp:txXfrm>
    </dsp:sp>
    <dsp:sp modelId="{A06848A9-0673-48CE-9E8A-C7D28F82CB08}">
      <dsp:nvSpPr>
        <dsp:cNvPr id="0" name=""/>
        <dsp:cNvSpPr/>
      </dsp:nvSpPr>
      <dsp:spPr>
        <a:xfrm>
          <a:off x="741183" y="895"/>
          <a:ext cx="557177" cy="557177"/>
        </a:xfrm>
        <a:prstGeom prst="ellipse">
          <a:avLst/>
        </a:prstGeom>
        <a:solidFill>
          <a:schemeClr val="accent6"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167B104-8387-4618-A918-0C5B8BE70460}">
      <dsp:nvSpPr>
        <dsp:cNvPr id="0" name=""/>
        <dsp:cNvSpPr/>
      </dsp:nvSpPr>
      <dsp:spPr>
        <a:xfrm rot="10800000">
          <a:off x="1019772" y="724394"/>
          <a:ext cx="3495628" cy="557177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5700" tIns="76200" rIns="142240" bIns="76200" numCol="1" spcCol="1270" anchor="ctr" anchorCtr="0">
          <a:noAutofit/>
        </a:bodyPr>
        <a:lstStyle/>
        <a:p>
          <a:pPr lvl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2000" b="0" u="none" kern="1200" smtClean="0">
              <a:latin typeface="+mn-lt"/>
              <a:ea typeface="Verdana" pitchFamily="34" charset="0"/>
              <a:cs typeface="Verdana" pitchFamily="34" charset="0"/>
            </a:rPr>
            <a:t>Diseño curricular</a:t>
          </a:r>
          <a:endParaRPr lang="es-MX" sz="2000" b="0" u="none" kern="1200" dirty="0">
            <a:latin typeface="+mn-lt"/>
            <a:ea typeface="Verdana" pitchFamily="34" charset="0"/>
            <a:cs typeface="Verdana" pitchFamily="34" charset="0"/>
          </a:endParaRPr>
        </a:p>
      </dsp:txBody>
      <dsp:txXfrm rot="10800000">
        <a:off x="1019772" y="724394"/>
        <a:ext cx="3495628" cy="557177"/>
      </dsp:txXfrm>
    </dsp:sp>
    <dsp:sp modelId="{E3C91D00-E061-4C92-90EE-7F9079521B4E}">
      <dsp:nvSpPr>
        <dsp:cNvPr id="0" name=""/>
        <dsp:cNvSpPr/>
      </dsp:nvSpPr>
      <dsp:spPr>
        <a:xfrm>
          <a:off x="741183" y="724394"/>
          <a:ext cx="557177" cy="557177"/>
        </a:xfrm>
        <a:prstGeom prst="ellipse">
          <a:avLst/>
        </a:prstGeom>
        <a:solidFill>
          <a:schemeClr val="accent6"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377F370-FA76-46CC-80DD-15DEF2F3AEAC}">
      <dsp:nvSpPr>
        <dsp:cNvPr id="0" name=""/>
        <dsp:cNvSpPr/>
      </dsp:nvSpPr>
      <dsp:spPr>
        <a:xfrm rot="10800000">
          <a:off x="1019772" y="1447893"/>
          <a:ext cx="3495628" cy="557177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5700" tIns="76200" rIns="142240" bIns="76200" numCol="1" spcCol="1270" anchor="ctr" anchorCtr="0">
          <a:noAutofit/>
        </a:bodyPr>
        <a:lstStyle/>
        <a:p>
          <a:pPr lvl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2000" b="0" u="none" kern="1200" smtClean="0">
              <a:latin typeface="+mn-lt"/>
              <a:ea typeface="Verdana" pitchFamily="34" charset="0"/>
              <a:cs typeface="Verdana" pitchFamily="34" charset="0"/>
            </a:rPr>
            <a:t>Estrategia de formación</a:t>
          </a:r>
          <a:endParaRPr lang="es-MX" sz="2000" b="0" u="none" kern="1200" dirty="0">
            <a:latin typeface="+mn-lt"/>
            <a:ea typeface="Verdana" pitchFamily="34" charset="0"/>
            <a:cs typeface="Verdana" pitchFamily="34" charset="0"/>
          </a:endParaRPr>
        </a:p>
      </dsp:txBody>
      <dsp:txXfrm rot="10800000">
        <a:off x="1019772" y="1447893"/>
        <a:ext cx="3495628" cy="557177"/>
      </dsp:txXfrm>
    </dsp:sp>
    <dsp:sp modelId="{C6FBEE0D-95DE-4531-A594-2828237A1A1C}">
      <dsp:nvSpPr>
        <dsp:cNvPr id="0" name=""/>
        <dsp:cNvSpPr/>
      </dsp:nvSpPr>
      <dsp:spPr>
        <a:xfrm>
          <a:off x="741183" y="1447893"/>
          <a:ext cx="557177" cy="557177"/>
        </a:xfrm>
        <a:prstGeom prst="ellipse">
          <a:avLst/>
        </a:prstGeom>
        <a:solidFill>
          <a:schemeClr val="accent6"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94877A9-8A08-40E9-9FCB-37F24340B295}">
      <dsp:nvSpPr>
        <dsp:cNvPr id="0" name=""/>
        <dsp:cNvSpPr/>
      </dsp:nvSpPr>
      <dsp:spPr>
        <a:xfrm rot="10800000">
          <a:off x="1019772" y="2171392"/>
          <a:ext cx="3495628" cy="557177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5700" tIns="76200" rIns="142240" bIns="76200" numCol="1" spcCol="1270" anchor="ctr" anchorCtr="0">
          <a:noAutofit/>
        </a:bodyPr>
        <a:lstStyle/>
        <a:p>
          <a:pPr lvl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2000" b="0" u="none" kern="1200" smtClean="0">
              <a:latin typeface="+mn-lt"/>
              <a:ea typeface="Verdana" pitchFamily="34" charset="0"/>
              <a:cs typeface="Verdana" pitchFamily="34" charset="0"/>
            </a:rPr>
            <a:t>Ambientes y recursos de aprendizaje</a:t>
          </a:r>
          <a:endParaRPr lang="es-MX" sz="2000" b="0" u="none" kern="1200" dirty="0">
            <a:latin typeface="+mn-lt"/>
            <a:ea typeface="Verdana" pitchFamily="34" charset="0"/>
            <a:cs typeface="Verdana" pitchFamily="34" charset="0"/>
          </a:endParaRPr>
        </a:p>
      </dsp:txBody>
      <dsp:txXfrm rot="10800000">
        <a:off x="1019772" y="2171392"/>
        <a:ext cx="3495628" cy="557177"/>
      </dsp:txXfrm>
    </dsp:sp>
    <dsp:sp modelId="{FE010DDC-EF4B-43AF-8661-0DE03706571B}">
      <dsp:nvSpPr>
        <dsp:cNvPr id="0" name=""/>
        <dsp:cNvSpPr/>
      </dsp:nvSpPr>
      <dsp:spPr>
        <a:xfrm>
          <a:off x="741183" y="2171392"/>
          <a:ext cx="557177" cy="557177"/>
        </a:xfrm>
        <a:prstGeom prst="ellipse">
          <a:avLst/>
        </a:prstGeom>
        <a:solidFill>
          <a:schemeClr val="accent6"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1769513-1D7B-4A29-A35E-728C9428A191}">
      <dsp:nvSpPr>
        <dsp:cNvPr id="0" name=""/>
        <dsp:cNvSpPr/>
      </dsp:nvSpPr>
      <dsp:spPr>
        <a:xfrm rot="10800000">
          <a:off x="1019772" y="2894891"/>
          <a:ext cx="3495628" cy="557177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5700" tIns="76200" rIns="142240" bIns="76200" numCol="1" spcCol="1270" anchor="ctr" anchorCtr="0">
          <a:noAutofit/>
        </a:bodyPr>
        <a:lstStyle/>
        <a:p>
          <a:pPr lvl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2000" b="0" u="none" kern="1200" smtClean="0">
              <a:latin typeface="+mn-lt"/>
              <a:ea typeface="Verdana" pitchFamily="34" charset="0"/>
              <a:cs typeface="Verdana" pitchFamily="34" charset="0"/>
            </a:rPr>
            <a:t>Orientación al estudiante</a:t>
          </a:r>
          <a:endParaRPr lang="es-MX" sz="2000" b="0" u="none" kern="1200" dirty="0">
            <a:latin typeface="+mn-lt"/>
            <a:ea typeface="Verdana" pitchFamily="34" charset="0"/>
            <a:cs typeface="Verdana" pitchFamily="34" charset="0"/>
          </a:endParaRPr>
        </a:p>
      </dsp:txBody>
      <dsp:txXfrm rot="10800000">
        <a:off x="1019772" y="2894891"/>
        <a:ext cx="3495628" cy="557177"/>
      </dsp:txXfrm>
    </dsp:sp>
    <dsp:sp modelId="{C65667AB-79B9-4237-9263-C5DCD799A16C}">
      <dsp:nvSpPr>
        <dsp:cNvPr id="0" name=""/>
        <dsp:cNvSpPr/>
      </dsp:nvSpPr>
      <dsp:spPr>
        <a:xfrm>
          <a:off x="741183" y="2894891"/>
          <a:ext cx="557177" cy="557177"/>
        </a:xfrm>
        <a:prstGeom prst="ellipse">
          <a:avLst/>
        </a:prstGeom>
        <a:solidFill>
          <a:schemeClr val="accent6"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9B61F9F-231F-4C68-8A5B-E081EECA0ED2}">
      <dsp:nvSpPr>
        <dsp:cNvPr id="0" name=""/>
        <dsp:cNvSpPr/>
      </dsp:nvSpPr>
      <dsp:spPr>
        <a:xfrm rot="10800000">
          <a:off x="1019772" y="3618390"/>
          <a:ext cx="3495628" cy="557177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5700" tIns="76200" rIns="142240" bIns="76200" numCol="1" spcCol="1270" anchor="ctr" anchorCtr="0">
          <a:noAutofit/>
        </a:bodyPr>
        <a:lstStyle/>
        <a:p>
          <a:pPr lvl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2000" b="0" u="none" kern="1200" smtClean="0">
              <a:latin typeface="+mn-lt"/>
              <a:ea typeface="Verdana" pitchFamily="34" charset="0"/>
              <a:cs typeface="Verdana" pitchFamily="34" charset="0"/>
            </a:rPr>
            <a:t>Resultados</a:t>
          </a:r>
          <a:endParaRPr lang="es-MX" sz="2000" b="0" u="none" kern="1200" dirty="0">
            <a:latin typeface="+mn-lt"/>
            <a:ea typeface="Verdana" pitchFamily="34" charset="0"/>
            <a:cs typeface="Verdana" pitchFamily="34" charset="0"/>
          </a:endParaRPr>
        </a:p>
      </dsp:txBody>
      <dsp:txXfrm rot="10800000">
        <a:off x="1019772" y="3618390"/>
        <a:ext cx="3495628" cy="557177"/>
      </dsp:txXfrm>
    </dsp:sp>
    <dsp:sp modelId="{2B6021C6-7717-432D-86DC-3024FDFA8E68}">
      <dsp:nvSpPr>
        <dsp:cNvPr id="0" name=""/>
        <dsp:cNvSpPr/>
      </dsp:nvSpPr>
      <dsp:spPr>
        <a:xfrm>
          <a:off x="741183" y="3618390"/>
          <a:ext cx="557177" cy="557177"/>
        </a:xfrm>
        <a:prstGeom prst="ellipse">
          <a:avLst/>
        </a:prstGeom>
        <a:solidFill>
          <a:schemeClr val="accent6"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6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FDFC23A-E9FA-4EFC-95DC-F052523EAEAB}">
      <dsp:nvSpPr>
        <dsp:cNvPr id="0" name=""/>
        <dsp:cNvSpPr/>
      </dsp:nvSpPr>
      <dsp:spPr>
        <a:xfrm rot="10800000">
          <a:off x="1051801" y="1870"/>
          <a:ext cx="3495628" cy="685293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2196" tIns="76200" rIns="142240" bIns="76200" numCol="1" spcCol="1270" anchor="ctr" anchorCtr="0">
          <a:noAutofit/>
        </a:bodyPr>
        <a:lstStyle/>
        <a:p>
          <a:pPr lvl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2000" u="none" kern="1200" smtClean="0">
              <a:latin typeface="+mn-lt"/>
              <a:ea typeface="Verdana" pitchFamily="34" charset="0"/>
              <a:cs typeface="Verdana" pitchFamily="34" charset="0"/>
            </a:rPr>
            <a:t>Permanencia</a:t>
          </a:r>
          <a:endParaRPr lang="es-MX" sz="2000" u="none" kern="1200" dirty="0">
            <a:latin typeface="+mn-lt"/>
            <a:ea typeface="Verdana" pitchFamily="34" charset="0"/>
            <a:cs typeface="Verdana" pitchFamily="34" charset="0"/>
          </a:endParaRPr>
        </a:p>
      </dsp:txBody>
      <dsp:txXfrm rot="10800000">
        <a:off x="1051801" y="1870"/>
        <a:ext cx="3495628" cy="685293"/>
      </dsp:txXfrm>
    </dsp:sp>
    <dsp:sp modelId="{D6AB906A-08BF-444F-AD94-8F4F589D9748}">
      <dsp:nvSpPr>
        <dsp:cNvPr id="0" name=""/>
        <dsp:cNvSpPr/>
      </dsp:nvSpPr>
      <dsp:spPr>
        <a:xfrm>
          <a:off x="709154" y="1870"/>
          <a:ext cx="685293" cy="685293"/>
        </a:xfrm>
        <a:prstGeom prst="ellipse">
          <a:avLst/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A81C47D-A3FB-4A37-9F8B-75D10D6E8A00}">
      <dsp:nvSpPr>
        <dsp:cNvPr id="0" name=""/>
        <dsp:cNvSpPr/>
      </dsp:nvSpPr>
      <dsp:spPr>
        <a:xfrm rot="10800000">
          <a:off x="1051801" y="891730"/>
          <a:ext cx="3495628" cy="685293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2196" tIns="76200" rIns="142240" bIns="76200" numCol="1" spcCol="1270" anchor="ctr" anchorCtr="0">
          <a:noAutofit/>
        </a:bodyPr>
        <a:lstStyle/>
        <a:p>
          <a:pPr lvl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2000" u="none" kern="1200" smtClean="0">
              <a:latin typeface="+mn-lt"/>
              <a:ea typeface="Verdana" pitchFamily="34" charset="0"/>
              <a:cs typeface="Verdana" pitchFamily="34" charset="0"/>
            </a:rPr>
            <a:t>Apoyo a los estudiantes</a:t>
          </a:r>
          <a:endParaRPr lang="es-MX" sz="2000" u="none" kern="1200" dirty="0">
            <a:latin typeface="+mn-lt"/>
            <a:ea typeface="Verdana" pitchFamily="34" charset="0"/>
            <a:cs typeface="Verdana" pitchFamily="34" charset="0"/>
          </a:endParaRPr>
        </a:p>
      </dsp:txBody>
      <dsp:txXfrm rot="10800000">
        <a:off x="1051801" y="891730"/>
        <a:ext cx="3495628" cy="685293"/>
      </dsp:txXfrm>
    </dsp:sp>
    <dsp:sp modelId="{4B922227-45CE-4E2F-B288-CE179C39C995}">
      <dsp:nvSpPr>
        <dsp:cNvPr id="0" name=""/>
        <dsp:cNvSpPr/>
      </dsp:nvSpPr>
      <dsp:spPr>
        <a:xfrm>
          <a:off x="709154" y="891730"/>
          <a:ext cx="685293" cy="685293"/>
        </a:xfrm>
        <a:prstGeom prst="ellipse">
          <a:avLst/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15F9641-0CCC-44A1-A251-AC2E59AC5AD1}">
      <dsp:nvSpPr>
        <dsp:cNvPr id="0" name=""/>
        <dsp:cNvSpPr/>
      </dsp:nvSpPr>
      <dsp:spPr>
        <a:xfrm rot="10800000">
          <a:off x="1051801" y="1781589"/>
          <a:ext cx="3495628" cy="685293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2196" tIns="76200" rIns="142240" bIns="76200" numCol="1" spcCol="1270" anchor="ctr" anchorCtr="0">
          <a:noAutofit/>
        </a:bodyPr>
        <a:lstStyle/>
        <a:p>
          <a:pPr lvl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2000" u="none" kern="1200" smtClean="0">
              <a:latin typeface="+mn-lt"/>
              <a:ea typeface="Verdana" pitchFamily="34" charset="0"/>
              <a:cs typeface="Verdana" pitchFamily="34" charset="0"/>
            </a:rPr>
            <a:t>Acceso sector productivo</a:t>
          </a:r>
          <a:endParaRPr lang="es-MX" sz="2000" u="none" kern="1200" dirty="0">
            <a:latin typeface="+mn-lt"/>
            <a:ea typeface="Verdana" pitchFamily="34" charset="0"/>
            <a:cs typeface="Verdana" pitchFamily="34" charset="0"/>
          </a:endParaRPr>
        </a:p>
      </dsp:txBody>
      <dsp:txXfrm rot="10800000">
        <a:off x="1051801" y="1781589"/>
        <a:ext cx="3495628" cy="685293"/>
      </dsp:txXfrm>
    </dsp:sp>
    <dsp:sp modelId="{3F7AA024-1F19-4421-9CF0-A820B84FFCBF}">
      <dsp:nvSpPr>
        <dsp:cNvPr id="0" name=""/>
        <dsp:cNvSpPr/>
      </dsp:nvSpPr>
      <dsp:spPr>
        <a:xfrm>
          <a:off x="709154" y="1781589"/>
          <a:ext cx="685293" cy="685293"/>
        </a:xfrm>
        <a:prstGeom prst="ellipse">
          <a:avLst/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396FCAF-D882-47BB-B229-C8C8749A112D}">
      <dsp:nvSpPr>
        <dsp:cNvPr id="0" name=""/>
        <dsp:cNvSpPr/>
      </dsp:nvSpPr>
      <dsp:spPr>
        <a:xfrm rot="10800000">
          <a:off x="1051801" y="2671448"/>
          <a:ext cx="3495628" cy="685293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2196" tIns="76200" rIns="142240" bIns="76200" numCol="1" spcCol="1270" anchor="ctr" anchorCtr="0">
          <a:noAutofit/>
        </a:bodyPr>
        <a:lstStyle/>
        <a:p>
          <a:pPr lvl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2000" u="none" kern="1200" smtClean="0">
              <a:latin typeface="+mn-lt"/>
              <a:ea typeface="Verdana" pitchFamily="34" charset="0"/>
              <a:cs typeface="Verdana" pitchFamily="34" charset="0"/>
            </a:rPr>
            <a:t>Articulación educativa</a:t>
          </a:r>
          <a:endParaRPr lang="es-MX" sz="2000" u="none" kern="1200" dirty="0">
            <a:latin typeface="+mn-lt"/>
            <a:ea typeface="Verdana" pitchFamily="34" charset="0"/>
            <a:cs typeface="Verdana" pitchFamily="34" charset="0"/>
          </a:endParaRPr>
        </a:p>
      </dsp:txBody>
      <dsp:txXfrm rot="10800000">
        <a:off x="1051801" y="2671448"/>
        <a:ext cx="3495628" cy="685293"/>
      </dsp:txXfrm>
    </dsp:sp>
    <dsp:sp modelId="{BA7EA86A-870E-48D7-9790-E8125ECB2E09}">
      <dsp:nvSpPr>
        <dsp:cNvPr id="0" name=""/>
        <dsp:cNvSpPr/>
      </dsp:nvSpPr>
      <dsp:spPr>
        <a:xfrm>
          <a:off x="709154" y="2671448"/>
          <a:ext cx="685293" cy="685293"/>
        </a:xfrm>
        <a:prstGeom prst="ellipse">
          <a:avLst/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2611F49-B841-4787-8EDC-56CB38E0980C}">
      <dsp:nvSpPr>
        <dsp:cNvPr id="0" name=""/>
        <dsp:cNvSpPr/>
      </dsp:nvSpPr>
      <dsp:spPr>
        <a:xfrm rot="10800000">
          <a:off x="1051801" y="3561307"/>
          <a:ext cx="3495628" cy="685293"/>
        </a:xfrm>
        <a:prstGeom prst="homePlat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2196" tIns="76200" rIns="142240" bIns="76200" numCol="1" spcCol="1270" anchor="ctr" anchorCtr="0">
          <a:noAutofit/>
        </a:bodyPr>
        <a:lstStyle/>
        <a:p>
          <a:pPr lvl="0" algn="just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MX" sz="2000" u="none" kern="1200" smtClean="0">
              <a:latin typeface="+mn-lt"/>
              <a:ea typeface="Verdana" pitchFamily="34" charset="0"/>
              <a:cs typeface="Verdana" pitchFamily="34" charset="0"/>
            </a:rPr>
            <a:t>Divulgación de la oferta</a:t>
          </a:r>
          <a:endParaRPr lang="es-MX" sz="2000" u="none" kern="1200" dirty="0">
            <a:latin typeface="+mn-lt"/>
            <a:ea typeface="Verdana" pitchFamily="34" charset="0"/>
            <a:cs typeface="Verdana" pitchFamily="34" charset="0"/>
          </a:endParaRPr>
        </a:p>
      </dsp:txBody>
      <dsp:txXfrm rot="10800000">
        <a:off x="1051801" y="3561307"/>
        <a:ext cx="3495628" cy="685293"/>
      </dsp:txXfrm>
    </dsp:sp>
    <dsp:sp modelId="{84FEFB6A-981F-4DA3-9096-A5A1C6AD2A85}">
      <dsp:nvSpPr>
        <dsp:cNvPr id="0" name=""/>
        <dsp:cNvSpPr/>
      </dsp:nvSpPr>
      <dsp:spPr>
        <a:xfrm>
          <a:off x="709154" y="3561307"/>
          <a:ext cx="685293" cy="685293"/>
        </a:xfrm>
        <a:prstGeom prst="ellipse">
          <a:avLst/>
        </a:prstGeom>
        <a:solidFill>
          <a:schemeClr val="accent5"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5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7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E9DC7A22-CE67-4A7F-8358-F0A6A85EBFEA}">
      <dsp:nvSpPr>
        <dsp:cNvPr id="0" name=""/>
        <dsp:cNvSpPr/>
      </dsp:nvSpPr>
      <dsp:spPr>
        <a:xfrm>
          <a:off x="2434764" y="1117158"/>
          <a:ext cx="2343826" cy="2343826"/>
        </a:xfrm>
        <a:prstGeom prst="ellipse">
          <a:avLst/>
        </a:prstGeom>
        <a:solidFill>
          <a:schemeClr val="accent2">
            <a:lumMod val="75000"/>
            <a:alpha val="50000"/>
          </a:schemeClr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tx1"/>
        </a:fontRef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ctr" defTabSz="1466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3300" b="1" kern="1200" dirty="0" smtClean="0">
              <a:effectLst/>
              <a:latin typeface="Calibri" pitchFamily="34" charset="0"/>
              <a:ea typeface="ヒラギノ角ゴ Pro W3"/>
              <a:cs typeface="ヒラギノ角ゴ Pro W3"/>
            </a:rPr>
            <a:t>CALIDAD</a:t>
          </a:r>
          <a:endParaRPr lang="es-CO" sz="3300" b="1" kern="1200" dirty="0">
            <a:effectLst/>
          </a:endParaRPr>
        </a:p>
      </dsp:txBody>
      <dsp:txXfrm>
        <a:off x="2434764" y="1117158"/>
        <a:ext cx="2343826" cy="2343826"/>
      </dsp:txXfrm>
    </dsp:sp>
    <dsp:sp modelId="{7C952903-E6D3-4C9A-91A6-E9C5B57C1B54}">
      <dsp:nvSpPr>
        <dsp:cNvPr id="0" name=""/>
        <dsp:cNvSpPr/>
      </dsp:nvSpPr>
      <dsp:spPr>
        <a:xfrm>
          <a:off x="2769791" y="-71901"/>
          <a:ext cx="1673773" cy="1672191"/>
        </a:xfrm>
        <a:prstGeom prst="ellipse">
          <a:avLst/>
        </a:prstGeom>
        <a:solidFill>
          <a:srgbClr val="E7D287">
            <a:alpha val="50000"/>
          </a:srgbClr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tx1"/>
        </a:fontRef>
      </dsp:style>
      <dsp:txBody>
        <a:bodyPr spcFirstLastPara="0" vert="horz" wrap="square" lIns="20320" tIns="20320" rIns="20320" bIns="2032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600" b="1" kern="1200" dirty="0" smtClean="0">
              <a:effectLst/>
              <a:latin typeface="Calibri" pitchFamily="34" charset="0"/>
              <a:ea typeface="ヒラギノ角ゴ Pro W3"/>
              <a:cs typeface="ヒラギノ角ゴ Pro W3"/>
            </a:rPr>
            <a:t>Cerrar Brechas con Enfoque Regional</a:t>
          </a:r>
          <a:endParaRPr lang="es-CO" sz="1600" b="1" kern="1200" dirty="0">
            <a:effectLst/>
          </a:endParaRPr>
        </a:p>
      </dsp:txBody>
      <dsp:txXfrm>
        <a:off x="2769791" y="-71901"/>
        <a:ext cx="1673773" cy="1672191"/>
      </dsp:txXfrm>
    </dsp:sp>
    <dsp:sp modelId="{A3D4FAAF-AABB-4735-9014-1E13443164EF}">
      <dsp:nvSpPr>
        <dsp:cNvPr id="0" name=""/>
        <dsp:cNvSpPr/>
      </dsp:nvSpPr>
      <dsp:spPr>
        <a:xfrm>
          <a:off x="3984574" y="2215415"/>
          <a:ext cx="1885374" cy="1672191"/>
        </a:xfrm>
        <a:prstGeom prst="ellipse">
          <a:avLst/>
        </a:prstGeom>
        <a:solidFill>
          <a:srgbClr val="FF9900">
            <a:alpha val="50000"/>
          </a:srgbClr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tx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b="1" kern="1200" dirty="0" smtClean="0">
              <a:effectLst/>
              <a:latin typeface="Calibri" pitchFamily="34" charset="0"/>
              <a:ea typeface="ヒラギノ角ゴ Pro W3"/>
              <a:cs typeface="ヒラギノ角ゴ Pro W3"/>
            </a:rPr>
            <a:t>Innovación y Pertinencia</a:t>
          </a:r>
          <a:endParaRPr lang="es-CO" sz="1800" b="1" kern="1200" dirty="0">
            <a:effectLst/>
          </a:endParaRPr>
        </a:p>
      </dsp:txBody>
      <dsp:txXfrm>
        <a:off x="3984574" y="2215415"/>
        <a:ext cx="1885374" cy="1672191"/>
      </dsp:txXfrm>
    </dsp:sp>
    <dsp:sp modelId="{7B200E48-2B25-4FBB-A807-45DD431A5277}">
      <dsp:nvSpPr>
        <dsp:cNvPr id="0" name=""/>
        <dsp:cNvSpPr/>
      </dsp:nvSpPr>
      <dsp:spPr>
        <a:xfrm>
          <a:off x="1274653" y="2215415"/>
          <a:ext cx="1673773" cy="1672191"/>
        </a:xfrm>
        <a:prstGeom prst="ellipse">
          <a:avLst/>
        </a:prstGeom>
        <a:solidFill>
          <a:schemeClr val="accent6">
            <a:lumMod val="50000"/>
            <a:alpha val="50000"/>
          </a:schemeClr>
        </a:solidFill>
        <a:ln>
          <a:noFill/>
        </a:ln>
        <a:effectLst/>
        <a:scene3d>
          <a:camera prst="orthographicFront"/>
          <a:lightRig rig="flat" dir="t"/>
        </a:scene3d>
        <a:sp3d prstMaterial="plastic">
          <a:bevelT w="120900" h="88900"/>
          <a:bevelB w="88900" h="31750" prst="angle"/>
        </a:sp3d>
      </dsp:spPr>
      <dsp:style>
        <a:lnRef idx="0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tx1"/>
        </a:fontRef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b="1" kern="1200" dirty="0" smtClean="0">
              <a:effectLst/>
              <a:latin typeface="Calibri" pitchFamily="34" charset="0"/>
              <a:ea typeface="ヒラギノ角ゴ Pro W3"/>
              <a:cs typeface="ヒラギノ角ゴ Pro W3"/>
            </a:rPr>
            <a:t>Modelo de Gestión</a:t>
          </a:r>
          <a:endParaRPr lang="es-CO" sz="1800" b="1" kern="1200" dirty="0">
            <a:effectLst/>
          </a:endParaRPr>
        </a:p>
      </dsp:txBody>
      <dsp:txXfrm>
        <a:off x="1274653" y="2215415"/>
        <a:ext cx="1673773" cy="1672191"/>
      </dsp:txXfrm>
    </dsp:sp>
  </dsp:spTree>
</dsp:drawing>
</file>

<file path=ppt/diagrams/drawing8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2C1C7BD4-C64F-43A1-93D1-DD80AD9D2D0B}">
      <dsp:nvSpPr>
        <dsp:cNvPr id="0" name=""/>
        <dsp:cNvSpPr/>
      </dsp:nvSpPr>
      <dsp:spPr>
        <a:xfrm>
          <a:off x="0" y="249552"/>
          <a:ext cx="7560840" cy="240975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6805" tIns="312420" rIns="586805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600" kern="1200" dirty="0" smtClean="0"/>
            <a:t>Lograr posicionamiento   y empoderamiento de la FTDH. </a:t>
          </a:r>
          <a:endParaRPr lang="es-CO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_tradnl" sz="1600" kern="1200" dirty="0" smtClean="0"/>
            <a:t>Mayor interacción entre el MEN y la Entidad Territorial.</a:t>
          </a:r>
          <a:r>
            <a:rPr lang="es-ES_tradnl" sz="1600" b="1" kern="1200" dirty="0" smtClean="0"/>
            <a:t> </a:t>
          </a:r>
          <a:endParaRPr lang="es-CO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600" kern="1200" dirty="0" smtClean="0"/>
            <a:t>Consolidar S</a:t>
          </a:r>
          <a:r>
            <a:rPr lang="es-MX" sz="1600" kern="1200" dirty="0" err="1" smtClean="0"/>
            <a:t>istema</a:t>
          </a:r>
          <a:r>
            <a:rPr lang="es-MX" sz="1600" kern="1200" dirty="0" smtClean="0"/>
            <a:t> de  Formación para el Trabajo desde el MEN y logre instalar capacidad en la SE</a:t>
          </a:r>
          <a:endParaRPr lang="es-CO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600" b="0" kern="1200" dirty="0" smtClean="0"/>
            <a:t>Definir estructura y organización de la ET</a:t>
          </a:r>
          <a:endParaRPr lang="es-CO" sz="1600" b="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_tradnl" sz="1600" kern="1200" dirty="0" smtClean="0"/>
            <a:t>Fortalecer los equipos de las Secretarías de Educación para atender esta responsabilidad.</a:t>
          </a:r>
          <a:endParaRPr lang="es-CO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600" kern="1200" dirty="0" smtClean="0"/>
            <a:t>Contar con recurso humano idóneo para evaluación y seguimiento</a:t>
          </a:r>
          <a:endParaRPr lang="es-CO" sz="1600" kern="1200" dirty="0"/>
        </a:p>
      </dsp:txBody>
      <dsp:txXfrm>
        <a:off x="0" y="249552"/>
        <a:ext cx="7560840" cy="2409750"/>
      </dsp:txXfrm>
    </dsp:sp>
    <dsp:sp modelId="{C5A07561-FDBD-4F9E-98C4-FFE0066B356F}">
      <dsp:nvSpPr>
        <dsp:cNvPr id="0" name=""/>
        <dsp:cNvSpPr/>
      </dsp:nvSpPr>
      <dsp:spPr>
        <a:xfrm>
          <a:off x="378042" y="28152"/>
          <a:ext cx="5292588" cy="442800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0047" tIns="0" rIns="200047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b="1" kern="1200" dirty="0" smtClean="0">
              <a:solidFill>
                <a:srgbClr val="C00000"/>
              </a:solidFill>
            </a:rPr>
            <a:t>ORGANIZACIÓN</a:t>
          </a:r>
          <a:endParaRPr lang="es-CO" sz="1800" b="1" kern="1200" dirty="0">
            <a:solidFill>
              <a:srgbClr val="C00000"/>
            </a:solidFill>
          </a:endParaRPr>
        </a:p>
      </dsp:txBody>
      <dsp:txXfrm>
        <a:off x="378042" y="28152"/>
        <a:ext cx="5292588" cy="442800"/>
      </dsp:txXfrm>
    </dsp:sp>
    <dsp:sp modelId="{FF3B3633-D802-4A33-93EF-DF8BCCA949EB}">
      <dsp:nvSpPr>
        <dsp:cNvPr id="0" name=""/>
        <dsp:cNvSpPr/>
      </dsp:nvSpPr>
      <dsp:spPr>
        <a:xfrm>
          <a:off x="0" y="3138101"/>
          <a:ext cx="7560840" cy="137025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86805" tIns="312420" rIns="586805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_tradnl" sz="1600" kern="1200" dirty="0" smtClean="0"/>
            <a:t>Solucionar las debilidades en las áreas de Inspección y Vigilancia y calidad para calificar y acompañar  a las IETDH.</a:t>
          </a:r>
          <a:endParaRPr lang="es-CO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600" kern="1200" dirty="0" smtClean="0"/>
            <a:t>Brindar desde el MEN capacitación a las SE para asumir asistencia técnica.</a:t>
          </a:r>
          <a:endParaRPr lang="es-CO" sz="16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s-CO" sz="1400" kern="1200" dirty="0"/>
        </a:p>
      </dsp:txBody>
      <dsp:txXfrm>
        <a:off x="0" y="3138101"/>
        <a:ext cx="7560840" cy="1370250"/>
      </dsp:txXfrm>
    </dsp:sp>
    <dsp:sp modelId="{C17E2D99-9489-456E-97E3-D967472EAAD2}">
      <dsp:nvSpPr>
        <dsp:cNvPr id="0" name=""/>
        <dsp:cNvSpPr/>
      </dsp:nvSpPr>
      <dsp:spPr>
        <a:xfrm>
          <a:off x="378042" y="2740302"/>
          <a:ext cx="5292588" cy="619198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00047" tIns="0" rIns="200047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b="1" kern="1200" dirty="0" smtClean="0">
              <a:solidFill>
                <a:srgbClr val="C00000"/>
              </a:solidFill>
            </a:rPr>
            <a:t>ASISTENCIA TECNICA /INSPECCION Y VIGILANCIA</a:t>
          </a:r>
          <a:endParaRPr lang="es-CO" sz="1800" b="1" kern="1200" dirty="0">
            <a:solidFill>
              <a:srgbClr val="C00000"/>
            </a:solidFill>
          </a:endParaRPr>
        </a:p>
      </dsp:txBody>
      <dsp:txXfrm>
        <a:off x="378042" y="2740302"/>
        <a:ext cx="5292588" cy="619198"/>
      </dsp:txXfrm>
    </dsp:sp>
  </dsp:spTree>
</dsp:drawing>
</file>

<file path=ppt/diagrams/drawing9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25201B38-210A-4CF0-BBC3-2F6AF9919001}">
      <dsp:nvSpPr>
        <dsp:cNvPr id="0" name=""/>
        <dsp:cNvSpPr/>
      </dsp:nvSpPr>
      <dsp:spPr>
        <a:xfrm>
          <a:off x="0" y="305495"/>
          <a:ext cx="6624737" cy="17325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14153" tIns="208280" rIns="514153" bIns="99568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400" kern="1200" dirty="0" smtClean="0"/>
            <a:t> </a:t>
          </a:r>
          <a:r>
            <a:rPr lang="es-ES_tradnl" sz="1600" kern="1200" dirty="0" smtClean="0"/>
            <a:t>Lineamientos generales para el desarrollo e implementación, seguimiento y evaluación de la ETDH</a:t>
          </a:r>
          <a:endParaRPr lang="es-CO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_tradnl" sz="1600" kern="1200" dirty="0" smtClean="0"/>
            <a:t>Orientación y lineamientos claros para la expedición de licencias y registro de los programas de ETDH</a:t>
          </a:r>
          <a:endParaRPr lang="es-CO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600" kern="1200" dirty="0" smtClean="0"/>
            <a:t>Diseño de  Guía e instrumentos para orientación y evaluación de programas de ETDH</a:t>
          </a:r>
          <a:endParaRPr lang="es-CO" sz="1600" kern="1200" dirty="0"/>
        </a:p>
      </dsp:txBody>
      <dsp:txXfrm>
        <a:off x="0" y="305495"/>
        <a:ext cx="6624737" cy="1732500"/>
      </dsp:txXfrm>
    </dsp:sp>
    <dsp:sp modelId="{88404FA8-B4D7-447D-B689-71413C8507D3}">
      <dsp:nvSpPr>
        <dsp:cNvPr id="0" name=""/>
        <dsp:cNvSpPr/>
      </dsp:nvSpPr>
      <dsp:spPr>
        <a:xfrm>
          <a:off x="329619" y="15603"/>
          <a:ext cx="6295105" cy="437492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5279" tIns="0" rIns="1752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b="1" kern="1200" dirty="0" smtClean="0">
              <a:solidFill>
                <a:srgbClr val="C00000"/>
              </a:solidFill>
            </a:rPr>
            <a:t>ORIENTACIONES Y LINEAMIENTOS PARA  LICENCIAS Y REGISTROS</a:t>
          </a:r>
          <a:endParaRPr lang="es-CO" sz="1800" b="1" kern="1200" dirty="0">
            <a:solidFill>
              <a:srgbClr val="C00000"/>
            </a:solidFill>
          </a:endParaRPr>
        </a:p>
      </dsp:txBody>
      <dsp:txXfrm>
        <a:off x="329619" y="15603"/>
        <a:ext cx="6295105" cy="437492"/>
      </dsp:txXfrm>
    </dsp:sp>
    <dsp:sp modelId="{3C4D1F82-F8F2-44D8-9A8B-792E9C62E2CF}">
      <dsp:nvSpPr>
        <dsp:cNvPr id="0" name=""/>
        <dsp:cNvSpPr/>
      </dsp:nvSpPr>
      <dsp:spPr>
        <a:xfrm>
          <a:off x="0" y="2432892"/>
          <a:ext cx="6624737" cy="20160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14153" tIns="208280" rIns="514153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_tradnl" sz="1600" kern="1200" dirty="0" smtClean="0"/>
            <a:t>Recursos adicionales para atender este compromiso.</a:t>
          </a:r>
          <a:endParaRPr lang="es-CO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_tradnl" sz="1600" kern="1200" dirty="0" smtClean="0"/>
            <a:t>Generar los recursos económicos para cofinanciar convenios y alianzas que favorezcan esta formación para el trabajo y el desarrollo humano.</a:t>
          </a:r>
          <a:endParaRPr lang="es-CO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ES_tradnl" sz="1600" kern="1200" dirty="0" smtClean="0"/>
            <a:t>Fondo para atender la Formación para el Trabajo como el FEM.</a:t>
          </a:r>
          <a:endParaRPr lang="es-CO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s-CO" sz="1600" kern="1200" dirty="0" smtClean="0"/>
            <a:t>Definir desde el MEN criterios para los costos de aprobación de licencias y programas. </a:t>
          </a:r>
          <a:r>
            <a:rPr lang="es-ES_tradnl" sz="1600" kern="1200" dirty="0" smtClean="0"/>
            <a:t>Regulación del sistema tarifario.</a:t>
          </a:r>
          <a:endParaRPr lang="es-CO" sz="1600" kern="1200" dirty="0"/>
        </a:p>
      </dsp:txBody>
      <dsp:txXfrm>
        <a:off x="0" y="2432892"/>
        <a:ext cx="6624737" cy="2016000"/>
      </dsp:txXfrm>
    </dsp:sp>
    <dsp:sp modelId="{909719E4-304C-4342-816F-38263EC714D0}">
      <dsp:nvSpPr>
        <dsp:cNvPr id="0" name=""/>
        <dsp:cNvSpPr/>
      </dsp:nvSpPr>
      <dsp:spPr>
        <a:xfrm>
          <a:off x="331236" y="2091995"/>
          <a:ext cx="4637315" cy="488496"/>
        </a:xfrm>
        <a:prstGeom prst="round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5875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5279" tIns="0" rIns="175279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1800" b="1" kern="1200" dirty="0" smtClean="0">
              <a:solidFill>
                <a:srgbClr val="C00000"/>
              </a:solidFill>
            </a:rPr>
            <a:t>RECURSOS  FINANCIEROS </a:t>
          </a:r>
          <a:endParaRPr lang="es-CO" sz="1800" b="1" kern="1200" dirty="0">
            <a:solidFill>
              <a:srgbClr val="C00000"/>
            </a:solidFill>
          </a:endParaRPr>
        </a:p>
      </dsp:txBody>
      <dsp:txXfrm>
        <a:off x="331236" y="2091995"/>
        <a:ext cx="4637315" cy="48849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diagrams.loki3.com/BracketList+Icon">
  <dgm:title val="Lista de llaves verticales"/>
  <dgm:desc val="Se usa para mostrar bloques de información agrupados. Funciona bien con gran cantidad de texto de nivel 2."/>
  <dgm:catLst>
    <dgm:cat type="list" pri="4110"/>
    <dgm:cat type="officeonline" pri="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3" srcId="0" destId="1" srcOrd="0" destOrd="0"/>
        <dgm:cxn modelId="4" srcId="1" destId="11" srcOrd="0" destOrd="0"/>
        <dgm:cxn modelId="5" srcId="0" destId="2" srcOrd="0" destOrd="0"/>
        <dgm:cxn modelId="6" srcId="2" destId="21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V" refType="primFontSz" refFor="des" refForName="parTx" fact="0.1"/>
      <dgm:constr type="primFontSz" for="des" forName="parTx" val="65"/>
      <dgm:constr type="primFontSz" for="des" forName="desTx" refType="primFontSz" refFor="des" refForName="parTx"/>
      <dgm:constr type="h" for="des" forName="parTx" refType="primFontSz" refFor="des" refForName="parTx" fact="0.55"/>
      <dgm:constr type="h" for="des" forName="bracket" refType="primFontSz" refFor="des" refForName="parTx" fact="0.55"/>
      <dgm:constr type="h" for="des" forName="desTx" refType="primFontSz" refFor="des" refForName="parTx" fact="0.55"/>
    </dgm:constrLst>
    <dgm:ruleLst>
      <dgm:rule type="primFontSz" for="des" forName="parTx" val="5" fact="NaN" max="NaN"/>
    </dgm:ruleLst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Tx" refType="w" fact="0.25"/>
          <dgm:constr type="w" for="ch" forName="bracket" refType="w" fact="0.05"/>
          <dgm:constr type="w" for="ch" forName="spH" refType="w" fact="0.02"/>
          <dgm:constr type="w" for="ch" forName="desTx" refType="w" fact="0.68"/>
          <dgm:constr type="h" for="ch" forName="bracket" refType="h" refFor="ch" refForName="desTx" op="gte"/>
          <dgm:constr type="h" for="ch" forName="bracket" refType="h" refFor="ch" refForName="parTx" op="gte"/>
          <dgm:constr type="h" for="ch" forName="desTx" refType="h" refFor="ch" refForName="parTx" op="gte"/>
        </dgm:constrLst>
        <dgm:ruleLst/>
        <dgm:layoutNode name="parTx" styleLbl="revTx">
          <dgm:varLst>
            <dgm:chMax val="1"/>
            <dgm:bulletEnabled val="1"/>
          </dgm:varLst>
          <dgm:choose name="Name8">
            <dgm:if name="Name9" func="var" arg="dir" op="equ" val="norm">
              <dgm:alg type="tx">
                <dgm:param type="parTxLTRAlign" val="r"/>
              </dgm:alg>
            </dgm:if>
            <dgm:else name="Name10">
              <dgm:alg type="tx">
                <dgm:param type="parTxLTRAlign" val="l"/>
              </dgm:alg>
            </dgm:else>
          </dgm:choose>
          <dgm:shape xmlns:r="http://schemas.openxmlformats.org/officeDocument/2006/relationships" type="rect" r:blip="">
            <dgm:adjLst/>
          </dgm:shape>
          <dgm:presOf axis="self" ptType="node"/>
          <dgm:constrLst>
            <dgm:constr type="tMarg" refType="primFontSz" fact="0.2"/>
            <dgm:constr type="bMarg" refType="primFontSz" fact="0.2"/>
          </dgm:constrLst>
          <dgm:ruleLst>
            <dgm:rule type="h" val="INF" fact="NaN" max="NaN"/>
          </dgm:ruleLst>
        </dgm:layoutNode>
        <dgm:layoutNode name="bracket" styleLbl="parChTrans1D1">
          <dgm:alg type="sp"/>
          <dgm:choose name="Name11">
            <dgm:if name="Name12" func="var" arg="dir" op="equ" val="norm">
              <dgm:shape xmlns:r="http://schemas.openxmlformats.org/officeDocument/2006/relationships" type="leftBrace" r:blip="">
                <dgm:adjLst>
                  <dgm:adj idx="1" val="0.35"/>
                </dgm:adjLst>
              </dgm:shape>
            </dgm:if>
            <dgm:else name="Name13">
              <dgm:shape xmlns:r="http://schemas.openxmlformats.org/officeDocument/2006/relationships" rot="180" type="leftBrace" r:blip="">
                <dgm:adjLst>
                  <dgm:adj idx="1" val="0.35"/>
                </dgm:adjLst>
              </dgm:shape>
            </dgm:else>
          </dgm:choose>
          <dgm:presOf/>
        </dgm:layoutNode>
        <dgm:layoutNode name="spH">
          <dgm:alg type="sp"/>
        </dgm:layoutNode>
        <dgm:choose name="Name14">
          <dgm:if name="Name15" axis="ch" ptType="node" func="cnt" op="gte" val="1">
            <dgm:layoutNode name="desTx" styleLbl="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secFontSz" refType="primFontSz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h" val="INF" fact="NaN" max="NaN"/>
              </dgm:ruleLst>
            </dgm:layoutNode>
          </dgm:if>
          <dgm:else name="Name16"/>
        </dgm:choose>
      </dgm:layoutNode>
      <dgm:forEach name="Name17" axis="followSib" ptType="sibTrans" cnt="1">
        <dgm:layoutNode name="spV">
          <dgm:alg type="sp"/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target2">
  <dgm:title val=""/>
  <dgm:desc val=""/>
  <dgm:catLst>
    <dgm:cat type="relationship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chMax val="3"/>
      <dgm:chPref val="1"/>
      <dgm:dir/>
      <dgm:animLvl val="lvl"/>
      <dgm:resizeHandles/>
    </dgm:varLst>
    <dgm:alg type="composite">
      <dgm:param type="horzAlign" val="none"/>
      <dgm:param type="vertAlign" val="none"/>
    </dgm:alg>
    <dgm:shape xmlns:r="http://schemas.openxmlformats.org/officeDocument/2006/relationships" r:blip="">
      <dgm:adjLst/>
    </dgm:shape>
    <dgm:presOf/>
    <dgm:choose name="Name1">
      <dgm:if name="Name2" func="var" arg="dir" op="equ" val="norm">
        <dgm:choose name="Name3">
          <dgm:if name="Name4" axis="ch ch" ptType="node node" st="1 1" cnt="1 0" func="cnt" op="gt" val="0">
            <dgm:choose name="Name5">
              <dgm:if name="Name6" axis="ch ch" ptType="node node" st="2 1" cnt="1 0" func="cnt" op="gt" val="0">
                <dgm:constrLst>
                  <dgm:constr type="primFontSz" for="des" forName="middleBoxParent" val="65"/>
                  <dgm:constr type="primFontSz" for="des" forName="mChild" val="65"/>
                  <dgm:constr type="primFontSz" for="des" forName="outerBoxParent" refType="primFontSz" refFor="des" refForName="middleBoxParent" op="equ"/>
                  <dgm:constr type="primFontSz" for="des" forName="centerBoxParent" refType="primFontSz" refFor="des" refForName="middleBoxParent" op="equ"/>
                  <dgm:constr type="primFontSz" for="des" forName="oChild" refType="primFontSz" refFor="des" refForName="mChild" op="equ"/>
                  <dgm:constr type="primFontSz" for="des" forName="cChild" refType="primFontSz" refFor="des" refForName="mChild" op="equ"/>
                  <dgm:constr type="l" for="ch" forName="outerBox"/>
                  <dgm:constr type="t" for="ch" forName="outerBox"/>
                  <dgm:constr type="w" for="ch" forName="outerBox" refType="w"/>
                  <dgm:constr type="h" for="ch" forName="outerBox" refType="h"/>
                  <dgm:constr type="l" for="ch" forName="middleBox" refType="w" fact="0.2"/>
                  <dgm:constr type="t" for="ch" forName="middleBox" refType="h" fact="0.25"/>
                  <dgm:constr type="w" for="ch" forName="middleBox" refType="w" fact="0.775"/>
                  <dgm:constr type="h" for="ch" forName="middleBox" refType="h" fact="0.7"/>
                  <dgm:constr type="l" for="ch" forName="centerBox" refType="w" fact="0.395"/>
                  <dgm:constr type="t" for="ch" forName="centerBox" refType="h" fact="0.5"/>
                  <dgm:constr type="w" for="ch" forName="centerBox" refType="w" fact="0.555"/>
                  <dgm:constr type="h" for="ch" forName="centerBox" refType="h" fact="0.4"/>
                  <dgm:constr type="userA" for="des" forName="outerSibTrans" refType="w"/>
                  <dgm:constr type="userA" for="des" forName="middleSibTrans" refType="w"/>
                  <dgm:constr type="userA" for="des" forName="centerSibTrans" refType="w"/>
                </dgm:constrLst>
              </dgm:if>
              <dgm:else name="Name7">
                <dgm:constrLst>
                  <dgm:constr type="primFontSz" for="des" forName="middleBoxParent" val="65"/>
                  <dgm:constr type="primFontSz" for="des" forName="mChild" val="65"/>
                  <dgm:constr type="primFontSz" for="des" forName="outerBoxParent" refType="primFontSz" refFor="des" refForName="middleBoxParent" op="equ"/>
                  <dgm:constr type="primFontSz" for="des" forName="centerBoxParent" refType="primFontSz" refFor="des" refForName="middleBoxParent" op="equ"/>
                  <dgm:constr type="primFontSz" for="des" forName="oChild" refType="primFontSz" refFor="des" refForName="mChild" op="equ"/>
                  <dgm:constr type="primFontSz" for="des" forName="cChild" refType="primFontSz" refFor="des" refForName="mChild" op="equ"/>
                  <dgm:constr type="l" for="ch" forName="outerBox"/>
                  <dgm:constr type="t" for="ch" forName="outerBox"/>
                  <dgm:constr type="w" for="ch" forName="outerBox" refType="w"/>
                  <dgm:constr type="h" for="ch" forName="outerBox" refType="h"/>
                  <dgm:constr type="l" for="ch" forName="middleBox" refType="w" fact="0.2"/>
                  <dgm:constr type="t" for="ch" forName="middleBox" refType="h" fact="0.25"/>
                  <dgm:constr type="w" for="ch" forName="middleBox" refType="w" fact="0.775"/>
                  <dgm:constr type="h" for="ch" forName="middleBox" refType="h" fact="0.7"/>
                  <dgm:constr type="l" for="ch" forName="centerBox" refType="w" fact="0.225"/>
                  <dgm:constr type="t" for="ch" forName="centerBox" refType="h" fact="0.5"/>
                  <dgm:constr type="w" for="ch" forName="centerBox" refType="w" fact="0.725"/>
                  <dgm:constr type="h" for="ch" forName="centerBox" refType="h" fact="0.4"/>
                  <dgm:constr type="userA" for="des" forName="outerSibTrans" refType="w"/>
                  <dgm:constr type="userA" for="des" forName="middleSibTrans" refType="w"/>
                  <dgm:constr type="userA" for="des" forName="centerSibTrans" refType="w"/>
                </dgm:constrLst>
              </dgm:else>
            </dgm:choose>
          </dgm:if>
          <dgm:else name="Name8">
            <dgm:choose name="Name9">
              <dgm:if name="Name10" axis="ch ch" ptType="node node" st="2 1" cnt="1 0" func="cnt" op="gt" val="0">
                <dgm:constrLst>
                  <dgm:constr type="primFontSz" for="des" forName="middleBoxParent" val="65"/>
                  <dgm:constr type="primFontSz" for="des" forName="mChild" val="65"/>
                  <dgm:constr type="primFontSz" for="des" forName="outerBoxParent" refType="primFontSz" refFor="des" refForName="middleBoxParent" op="equ"/>
                  <dgm:constr type="primFontSz" for="des" forName="centerBoxParent" refType="primFontSz" refFor="des" refForName="middleBoxParent" op="equ"/>
                  <dgm:constr type="primFontSz" for="des" forName="oChild" refType="primFontSz" refFor="des" refForName="mChild" op="equ"/>
                  <dgm:constr type="primFontSz" for="des" forName="cChild" refType="primFontSz" refFor="des" refForName="mChild" op="equ"/>
                  <dgm:constr type="l" for="ch" forName="outerBox"/>
                  <dgm:constr type="t" for="ch" forName="outerBox"/>
                  <dgm:constr type="w" for="ch" forName="outerBox" refType="w"/>
                  <dgm:constr type="h" for="ch" forName="outerBox" refType="h"/>
                  <dgm:constr type="l" for="ch" forName="middleBox" refType="w" fact="0.025"/>
                  <dgm:constr type="t" for="ch" forName="middleBox" refType="h" fact="0.25"/>
                  <dgm:constr type="w" for="ch" forName="middleBox" refType="w" fact="0.95"/>
                  <dgm:constr type="h" for="ch" forName="middleBox" refType="h" fact="0.7"/>
                  <dgm:constr type="l" for="ch" forName="centerBox" refType="w" fact="0.26"/>
                  <dgm:constr type="t" for="ch" forName="centerBox" refType="h" fact="0.5"/>
                  <dgm:constr type="w" for="ch" forName="centerBox" refType="w" fact="0.69"/>
                  <dgm:constr type="h" for="ch" forName="centerBox" refType="h" fact="0.4"/>
                  <dgm:constr type="userA" for="des" forName="outerSibTrans" refType="w"/>
                  <dgm:constr type="userA" for="des" forName="middleSibTrans" refType="w"/>
                  <dgm:constr type="userA" for="des" forName="centerSibTrans" refType="w"/>
                </dgm:constrLst>
              </dgm:if>
              <dgm:else name="Name11">
                <dgm:constrLst>
                  <dgm:constr type="primFontSz" for="des" forName="middleBoxParent" val="65"/>
                  <dgm:constr type="primFontSz" for="des" forName="mChild" val="65"/>
                  <dgm:constr type="primFontSz" for="des" forName="outerBoxParent" refType="primFontSz" refFor="des" refForName="middleBoxParent" op="equ"/>
                  <dgm:constr type="primFontSz" for="des" forName="centerBoxParent" refType="primFontSz" refFor="des" refForName="middleBoxParent" op="equ"/>
                  <dgm:constr type="primFontSz" for="des" forName="oChild" refType="primFontSz" refFor="des" refForName="mChild" op="equ"/>
                  <dgm:constr type="primFontSz" for="des" forName="cChild" refType="primFontSz" refFor="des" refForName="mChild" op="equ"/>
                  <dgm:constr type="l" for="ch" forName="outerBox"/>
                  <dgm:constr type="t" for="ch" forName="outerBox"/>
                  <dgm:constr type="w" for="ch" forName="outerBox" refType="w"/>
                  <dgm:constr type="h" for="ch" forName="outerBox" refType="h"/>
                  <dgm:constr type="l" for="ch" forName="middleBox" refType="w" fact="0.025"/>
                  <dgm:constr type="t" for="ch" forName="middleBox" refType="h" fact="0.25"/>
                  <dgm:constr type="w" for="ch" forName="middleBox" refType="w" fact="0.95"/>
                  <dgm:constr type="h" for="ch" forName="middleBox" refType="h" fact="0.7"/>
                  <dgm:constr type="l" for="ch" forName="centerBox" refType="w" fact="0.05"/>
                  <dgm:constr type="t" for="ch" forName="centerBox" refType="h" fact="0.5"/>
                  <dgm:constr type="w" for="ch" forName="centerBox" refType="w" fact="0.9"/>
                  <dgm:constr type="h" for="ch" forName="centerBox" refType="h" fact="0.4"/>
                  <dgm:constr type="userA" for="des" forName="outerSibTrans" refType="w"/>
                  <dgm:constr type="userA" for="des" forName="middleSibTrans" refType="w"/>
                  <dgm:constr type="userA" for="des" forName="centerSibTrans" refType="w"/>
                </dgm:constrLst>
              </dgm:else>
            </dgm:choose>
          </dgm:else>
        </dgm:choose>
      </dgm:if>
      <dgm:else name="Name12">
        <dgm:choose name="Name13">
          <dgm:if name="Name14" axis="ch ch" ptType="node node" st="1 1" cnt="1 0" func="cnt" op="gt" val="0">
            <dgm:choose name="Name15">
              <dgm:if name="Name16" axis="ch ch" ptType="node node" st="2 1" cnt="1 0" func="cnt" op="gt" val="0">
                <dgm:constrLst>
                  <dgm:constr type="primFontSz" for="des" forName="middleBoxParent" val="65"/>
                  <dgm:constr type="primFontSz" for="des" forName="mChild" val="65"/>
                  <dgm:constr type="primFontSz" for="des" forName="outerBoxParent" refType="primFontSz" refFor="des" refForName="middleBoxParent" op="equ"/>
                  <dgm:constr type="primFontSz" for="des" forName="centerBoxParent" refType="primFontSz" refFor="des" refForName="middleBoxParent" op="equ"/>
                  <dgm:constr type="primFontSz" for="des" forName="oChild" refType="primFontSz" refFor="des" refForName="mChild" op="equ"/>
                  <dgm:constr type="primFontSz" for="des" forName="cChild" refType="primFontSz" refFor="des" refForName="mChild" op="equ"/>
                  <dgm:constr type="l" for="ch" forName="outerBox"/>
                  <dgm:constr type="t" for="ch" forName="outerBox"/>
                  <dgm:constr type="w" for="ch" forName="outerBox" refType="w"/>
                  <dgm:constr type="h" for="ch" forName="outerBox" refType="h"/>
                  <dgm:constr type="l" for="ch" forName="middleBox" refType="w" fact="0.025"/>
                  <dgm:constr type="t" for="ch" forName="middleBox" refType="h" fact="0.25"/>
                  <dgm:constr type="w" for="ch" forName="middleBox" refType="w" fact="0.775"/>
                  <dgm:constr type="h" for="ch" forName="middleBox" refType="h" fact="0.7"/>
                  <dgm:constr type="l" for="ch" forName="centerBox" refType="w" fact="0.05"/>
                  <dgm:constr type="t" for="ch" forName="centerBox" refType="h" fact="0.5"/>
                  <dgm:constr type="w" for="ch" forName="centerBox" refType="w" fact="0.55"/>
                  <dgm:constr type="h" for="ch" forName="centerBox" refType="h" fact="0.4"/>
                  <dgm:constr type="userA" for="des" forName="outerSibTrans" refType="w"/>
                  <dgm:constr type="userA" for="des" forName="middleSibTrans" refType="w"/>
                  <dgm:constr type="userA" for="des" forName="centerSibTrans" refType="w"/>
                </dgm:constrLst>
              </dgm:if>
              <dgm:else name="Name17">
                <dgm:constrLst>
                  <dgm:constr type="primFontSz" for="des" forName="middleBoxParent" val="65"/>
                  <dgm:constr type="primFontSz" for="des" forName="mChild" val="65"/>
                  <dgm:constr type="primFontSz" for="des" forName="outerBoxParent" refType="primFontSz" refFor="des" refForName="middleBoxParent" op="equ"/>
                  <dgm:constr type="primFontSz" for="des" forName="centerBoxParent" refType="primFontSz" refFor="des" refForName="middleBoxParent" op="equ"/>
                  <dgm:constr type="primFontSz" for="des" forName="oChild" refType="primFontSz" refFor="des" refForName="mChild" op="equ"/>
                  <dgm:constr type="primFontSz" for="des" forName="cChild" refType="primFontSz" refFor="des" refForName="mChild" op="equ"/>
                  <dgm:constr type="l" for="ch" forName="outerBox"/>
                  <dgm:constr type="t" for="ch" forName="outerBox"/>
                  <dgm:constr type="w" for="ch" forName="outerBox" refType="w"/>
                  <dgm:constr type="h" for="ch" forName="outerBox" refType="h"/>
                  <dgm:constr type="l" for="ch" forName="middleBox" refType="w" fact="0.025"/>
                  <dgm:constr type="t" for="ch" forName="middleBox" refType="h" fact="0.25"/>
                  <dgm:constr type="w" for="ch" forName="middleBox" refType="w" fact="0.775"/>
                  <dgm:constr type="h" for="ch" forName="middleBox" refType="h" fact="0.7"/>
                  <dgm:constr type="l" for="ch" forName="centerBox" refType="w" fact="0.05"/>
                  <dgm:constr type="t" for="ch" forName="centerBox" refType="h" fact="0.5"/>
                  <dgm:constr type="w" for="ch" forName="centerBox" refType="w" fact="0.725"/>
                  <dgm:constr type="h" for="ch" forName="centerBox" refType="h" fact="0.4"/>
                  <dgm:constr type="userA" for="des" forName="outerSibTrans" refType="w"/>
                  <dgm:constr type="userA" for="des" forName="middleSibTrans" refType="w"/>
                  <dgm:constr type="userA" for="des" forName="centerSibTrans" refType="w"/>
                </dgm:constrLst>
              </dgm:else>
            </dgm:choose>
          </dgm:if>
          <dgm:else name="Name18">
            <dgm:choose name="Name19">
              <dgm:if name="Name20" axis="ch ch" ptType="node node" st="2 1" cnt="1 0" func="cnt" op="gt" val="0">
                <dgm:constrLst>
                  <dgm:constr type="primFontSz" for="des" forName="middleBoxParent" val="65"/>
                  <dgm:constr type="primFontSz" for="des" forName="mChild" val="65"/>
                  <dgm:constr type="primFontSz" for="des" forName="outerBoxParent" refType="primFontSz" refFor="des" refForName="middleBoxParent" op="equ"/>
                  <dgm:constr type="primFontSz" for="des" forName="centerBoxParent" refType="primFontSz" refFor="des" refForName="middleBoxParent" op="equ"/>
                  <dgm:constr type="primFontSz" for="des" forName="oChild" refType="primFontSz" refFor="des" refForName="mChild" op="equ"/>
                  <dgm:constr type="primFontSz" for="des" forName="cChild" refType="primFontSz" refFor="des" refForName="mChild" op="equ"/>
                  <dgm:constr type="l" for="ch" forName="outerBox"/>
                  <dgm:constr type="t" for="ch" forName="outerBox"/>
                  <dgm:constr type="w" for="ch" forName="outerBox" refType="w"/>
                  <dgm:constr type="h" for="ch" forName="outerBox" refType="h"/>
                  <dgm:constr type="l" for="ch" forName="middleBox" refType="w" fact="0.025"/>
                  <dgm:constr type="t" for="ch" forName="middleBox" refType="h" fact="0.25"/>
                  <dgm:constr type="w" for="ch" forName="middleBox" refType="w" fact="0.95"/>
                  <dgm:constr type="h" for="ch" forName="middleBox" refType="h" fact="0.7"/>
                  <dgm:constr type="l" for="ch" forName="centerBox" refType="w" fact="0.05"/>
                  <dgm:constr type="t" for="ch" forName="centerBox" refType="h" fact="0.5"/>
                  <dgm:constr type="w" for="ch" forName="centerBox" refType="w" fact="0.69"/>
                  <dgm:constr type="h" for="ch" forName="centerBox" refType="h" fact="0.4"/>
                  <dgm:constr type="userA" for="des" forName="outerSibTrans" refType="w"/>
                  <dgm:constr type="userA" for="des" forName="middleSibTrans" refType="w"/>
                  <dgm:constr type="userA" for="des" forName="centerSibTrans" refType="w"/>
                </dgm:constrLst>
              </dgm:if>
              <dgm:else name="Name21">
                <dgm:constrLst>
                  <dgm:constr type="primFontSz" for="des" forName="middleBoxParent" val="65"/>
                  <dgm:constr type="primFontSz" for="des" forName="mChild" val="65"/>
                  <dgm:constr type="primFontSz" for="des" forName="outerBoxParent" refType="primFontSz" refFor="des" refForName="middleBoxParent" op="equ"/>
                  <dgm:constr type="primFontSz" for="des" forName="centerBoxParent" refType="primFontSz" refFor="des" refForName="middleBoxParent" op="equ"/>
                  <dgm:constr type="primFontSz" for="des" forName="oChild" refType="primFontSz" refFor="des" refForName="mChild" op="equ"/>
                  <dgm:constr type="primFontSz" for="des" forName="cChild" refType="primFontSz" refFor="des" refForName="mChild" op="equ"/>
                  <dgm:constr type="l" for="ch" forName="outerBox"/>
                  <dgm:constr type="t" for="ch" forName="outerBox"/>
                  <dgm:constr type="w" for="ch" forName="outerBox" refType="w"/>
                  <dgm:constr type="h" for="ch" forName="outerBox" refType="h"/>
                  <dgm:constr type="l" for="ch" forName="middleBox" refType="w" fact="0.025"/>
                  <dgm:constr type="t" for="ch" forName="middleBox" refType="h" fact="0.25"/>
                  <dgm:constr type="w" for="ch" forName="middleBox" refType="w" fact="0.95"/>
                  <dgm:constr type="h" for="ch" forName="middleBox" refType="h" fact="0.7"/>
                  <dgm:constr type="l" for="ch" forName="centerBox" refType="w" fact="0.05"/>
                  <dgm:constr type="t" for="ch" forName="centerBox" refType="h" fact="0.5"/>
                  <dgm:constr type="w" for="ch" forName="centerBox" refType="w" fact="0.9"/>
                  <dgm:constr type="h" for="ch" forName="centerBox" refType="h" fact="0.4"/>
                  <dgm:constr type="userA" for="des" forName="outerSibTrans" refType="w"/>
                  <dgm:constr type="userA" for="des" forName="middleSibTrans" refType="w"/>
                  <dgm:constr type="userA" for="des" forName="centerSibTrans" refType="w"/>
                </dgm:constrLst>
              </dgm:else>
            </dgm:choose>
          </dgm:else>
        </dgm:choose>
      </dgm:else>
    </dgm:choose>
    <dgm:ruleLst/>
    <dgm:choose name="Name22">
      <dgm:if name="Name23" axis="root ch" ptType="all node" st="1 1" cnt="0 0" func="cnt" op="gte" val="1">
        <dgm:layoutNode name="outerBox" styleLbl="node1">
          <dgm:alg type="composite">
            <dgm:param type="horzAlign" val="none"/>
            <dgm:param type="vertAlign" val="none"/>
          </dgm:alg>
          <dgm:shape xmlns:r="http://schemas.openxmlformats.org/officeDocument/2006/relationships" r:blip="">
            <dgm:adjLst/>
          </dgm:shape>
          <dgm:presOf/>
          <dgm:choose name="Name24">
            <dgm:if name="Name25" axis="root ch" ptType="all node" st="1 1" cnt="0 0" func="cnt" op="gt" val="1">
              <dgm:choose name="Name26">
                <dgm:if name="Name27" func="var" arg="dir" op="equ" val="norm">
                  <dgm:constrLst>
                    <dgm:constr type="l" for="ch" forName="outerBoxParent"/>
                    <dgm:constr type="t" for="ch" forName="outerBoxParent"/>
                    <dgm:constr type="w" for="ch" forName="outerBoxParent" refType="w"/>
                    <dgm:constr type="h" for="ch" forName="outerBoxParent" refType="h"/>
                    <dgm:constr type="bMarg" for="ch" forName="outerBoxParent" refType="h" fact="2.2"/>
                    <dgm:constr type="l" for="ch" forName="outerBoxChildren" refType="w" fact="0.025"/>
                    <dgm:constr type="t" for="ch" forName="outerBoxChildren" refType="h" fact="0.25"/>
                    <dgm:constr type="w" for="ch" forName="outerBoxChildren" refType="w" fact="0.15"/>
                    <dgm:constr type="h" for="ch" forName="outerBoxChildren" refType="h" fact="0.7"/>
                  </dgm:constrLst>
                </dgm:if>
                <dgm:else name="Name28">
                  <dgm:constrLst>
                    <dgm:constr type="l" for="ch" forName="outerBoxParent"/>
                    <dgm:constr type="t" for="ch" forName="outerBoxParent"/>
                    <dgm:constr type="w" for="ch" forName="outerBoxParent" refType="w"/>
                    <dgm:constr type="h" for="ch" forName="outerBoxParent" refType="h"/>
                    <dgm:constr type="bMarg" for="ch" forName="outerBoxParent" refType="h" fact="2.2"/>
                    <dgm:constr type="l" for="ch" forName="outerBoxChildren" refType="w" fact="0.825"/>
                    <dgm:constr type="t" for="ch" forName="outerBoxChildren" refType="h" fact="0.25"/>
                    <dgm:constr type="w" for="ch" forName="outerBoxChildren" refType="w" fact="0.15"/>
                    <dgm:constr type="h" for="ch" forName="outerBoxChildren" refType="h" fact="0.7"/>
                  </dgm:constrLst>
                </dgm:else>
              </dgm:choose>
            </dgm:if>
            <dgm:else name="Name29">
              <dgm:constrLst>
                <dgm:constr type="l" for="ch" forName="outerBoxParent"/>
                <dgm:constr type="t" for="ch" forName="outerBoxParent"/>
                <dgm:constr type="w" for="ch" forName="outerBoxParent" refType="w"/>
                <dgm:constr type="h" for="ch" forName="outerBoxParent" refType="h"/>
                <dgm:constr type="bMarg" for="ch" forName="outerBoxParent" refType="h" fact="1.75"/>
                <dgm:constr type="l" for="ch" forName="outerBoxChildren" refType="w" fact="0.025"/>
                <dgm:constr type="t" for="ch" forName="outerBoxChildren" refType="h" fact="0.45"/>
                <dgm:constr type="w" for="ch" forName="outerBoxChildren" refType="w" fact="0.95"/>
                <dgm:constr type="h" for="ch" forName="outerBoxChildren" refType="h" fact="0.45"/>
              </dgm:constrLst>
            </dgm:else>
          </dgm:choose>
          <dgm:ruleLst/>
          <dgm:layoutNode name="outerBoxParent" styleLbl="node1">
            <dgm:alg type="tx">
              <dgm:param type="txAnchorVert" val="t"/>
              <dgm:param type="parTxLTRAlign" val="l"/>
              <dgm:param type="parTxRTLAlign" val="r"/>
            </dgm:alg>
            <dgm:shape xmlns:r="http://schemas.openxmlformats.org/officeDocument/2006/relationships" type="roundRect" r:blip="">
              <dgm:adjLst>
                <dgm:adj idx="1" val="0.085"/>
              </dgm:adjLst>
            </dgm:shape>
            <dgm:presOf axis="ch" ptType="node" cnt="1"/>
            <dgm:constrLst>
              <dgm:constr type="t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  <dgm:layoutNode name="outerBoxChildren">
            <dgm:choose name="Name30">
              <dgm:if name="Name31" axis="root ch" ptType="all node" st="1 1" cnt="0 0" func="cnt" op="gt" val="1">
                <dgm:alg type="lin">
                  <dgm:param type="linDir" val="fromT"/>
                  <dgm:param type="vertAlign" val="t"/>
                </dgm:alg>
              </dgm:if>
              <dgm:else name="Name32">
                <dgm:choose name="Name33">
                  <dgm:if name="Name34" func="var" arg="dir" op="equ" val="norm">
                    <dgm:alg type="lin">
                      <dgm:param type="horzAlign" val="l"/>
                    </dgm:alg>
                  </dgm:if>
                  <dgm:else name="Name35">
                    <dgm:alg type="lin">
                      <dgm:param type="linDir" val="fromR"/>
                      <dgm:param type="horzAlign" val="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>
              <dgm:constr type="w" for="ch" forName="oChild" refType="w"/>
              <dgm:constr type="h" for="ch" forName="oChild" refType="h"/>
            </dgm:constrLst>
            <dgm:ruleLst/>
            <dgm:forEach name="Name36" axis="ch ch" ptType="node node" st="1 1" cnt="1 0">
              <dgm:layoutNode name="oChild" styleLbl="fgAcc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forEach name="Name37" axis="followSib" ptType="sibTrans" cnt="1">
                <dgm:layoutNode name="outerSibTrans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userA"/>
                    <dgm:constr type="w" refType="userA" fact="0.015"/>
                    <dgm:constr type="h" refType="userA" fact="0.015"/>
                  </dgm:constrLst>
                  <dgm:ruleLst/>
                </dgm:layoutNode>
              </dgm:forEach>
            </dgm:forEach>
          </dgm:layoutNode>
        </dgm:layoutNode>
      </dgm:if>
      <dgm:else name="Name38"/>
    </dgm:choose>
    <dgm:choose name="Name39">
      <dgm:if name="Name40" axis="root ch" ptType="all node" st="1 1" cnt="0 0" func="cnt" op="gte" val="2">
        <dgm:layoutNode name="middleBox">
          <dgm:alg type="composite">
            <dgm:param type="horzAlign" val="none"/>
            <dgm:param type="vertAlign" val="none"/>
          </dgm:alg>
          <dgm:shape xmlns:r="http://schemas.openxmlformats.org/officeDocument/2006/relationships" r:blip="">
            <dgm:adjLst/>
          </dgm:shape>
          <dgm:presOf/>
          <dgm:choose name="Name41">
            <dgm:if name="Name42" axis="root ch" ptType="all node" st="1 1" cnt="0 0" func="cnt" op="gt" val="2">
              <dgm:choose name="Name43">
                <dgm:if name="Name44" func="var" arg="dir" op="equ" val="norm">
                  <dgm:constrLst>
                    <dgm:constr type="l" for="ch" forName="middleBoxParent"/>
                    <dgm:constr type="t" for="ch" forName="middleBoxParent"/>
                    <dgm:constr type="w" for="ch" forName="middleBoxParent" refType="w"/>
                    <dgm:constr type="h" for="ch" forName="middleBoxParent" refType="h"/>
                    <dgm:constr type="bMarg" for="ch" forName="middleBoxParent" refType="h" fact="1.8"/>
                    <dgm:constr type="l" for="ch" forName="middleBoxChildren" refType="w" fact="0.025"/>
                    <dgm:constr type="t" for="ch" forName="middleBoxChildren" refType="h" fact="0.35"/>
                    <dgm:constr type="w" for="ch" forName="middleBoxChildren" refType="w" fact="0.2"/>
                    <dgm:constr type="h" for="ch" forName="middleBoxChildren" refType="h" fact="0.575"/>
                  </dgm:constrLst>
                </dgm:if>
                <dgm:else name="Name45">
                  <dgm:constrLst>
                    <dgm:constr type="l" for="ch" forName="middleBoxParent"/>
                    <dgm:constr type="t" for="ch" forName="middleBoxParent"/>
                    <dgm:constr type="w" for="ch" forName="middleBoxParent" refType="w"/>
                    <dgm:constr type="h" for="ch" forName="middleBoxParent" refType="h"/>
                    <dgm:constr type="bMarg" for="ch" forName="middleBoxParent" refType="h" fact="1.8"/>
                    <dgm:constr type="l" for="ch" forName="middleBoxChildren" refType="w" fact="0.775"/>
                    <dgm:constr type="t" for="ch" forName="middleBoxChildren" refType="h" fact="0.35"/>
                    <dgm:constr type="w" for="ch" forName="middleBoxChildren" refType="w" fact="0.2"/>
                    <dgm:constr type="h" for="ch" forName="middleBoxChildren" refType="h" fact="0.575"/>
                  </dgm:constrLst>
                </dgm:else>
              </dgm:choose>
            </dgm:if>
            <dgm:else name="Name46">
              <dgm:constrLst>
                <dgm:constr type="l" for="ch" forName="middleBoxParent"/>
                <dgm:constr type="t" for="ch" forName="middleBoxParent"/>
                <dgm:constr type="w" for="ch" forName="middleBoxParent" refType="w"/>
                <dgm:constr type="h" for="ch" forName="middleBoxParent" refType="h"/>
                <dgm:constr type="bMarg" for="ch" forName="middleBoxParent" refType="h" fact="1.8"/>
                <dgm:constr type="l" for="ch" forName="middleBoxChildren" refType="w" fact="0.025"/>
                <dgm:constr type="t" for="ch" forName="middleBoxChildren" refType="h" fact="0.45"/>
                <dgm:constr type="w" for="ch" forName="middleBoxChildren" refType="w" fact="0.95"/>
                <dgm:constr type="h" for="ch" forName="middleBoxChildren" refType="h" fact="0.45"/>
              </dgm:constrLst>
            </dgm:else>
          </dgm:choose>
          <dgm:ruleLst/>
          <dgm:layoutNode name="middleBoxParent" styleLbl="node1">
            <dgm:alg type="tx">
              <dgm:param type="txAnchorVert" val="t"/>
              <dgm:param type="parTxLTRAlign" val="l"/>
              <dgm:param type="parTxRTLAlign" val="r"/>
            </dgm:alg>
            <dgm:shape xmlns:r="http://schemas.openxmlformats.org/officeDocument/2006/relationships" type="roundRect" r:blip="">
              <dgm:adjLst>
                <dgm:adj idx="1" val="0.105"/>
              </dgm:adjLst>
            </dgm:shape>
            <dgm:presOf axis="ch" ptType="node" st="2" cnt="1"/>
            <dgm:constrLst>
              <dgm:constr type="t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  <dgm:layoutNode name="middleBoxChildren">
            <dgm:choose name="Name47">
              <dgm:if name="Name48" axis="root ch" ptType="all node" st="1 1" cnt="0 0" func="cnt" op="gt" val="2">
                <dgm:alg type="lin">
                  <dgm:param type="linDir" val="fromT"/>
                  <dgm:param type="vertAlign" val="t"/>
                </dgm:alg>
              </dgm:if>
              <dgm:else name="Name49">
                <dgm:choose name="Name50">
                  <dgm:if name="Name51" func="var" arg="dir" op="equ" val="norm">
                    <dgm:alg type="lin">
                      <dgm:param type="horzAlign" val="l"/>
                    </dgm:alg>
                  </dgm:if>
                  <dgm:else name="Name52">
                    <dgm:alg type="lin">
                      <dgm:param type="linDir" val="fromR"/>
                      <dgm:param type="horzAlign" val="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>
              <dgm:constr type="w" for="ch" forName="mChild" refType="w"/>
              <dgm:constr type="h" for="ch" forName="mChild" refType="h"/>
            </dgm:constrLst>
            <dgm:ruleLst/>
            <dgm:forEach name="Name53" axis="ch ch" ptType="node node" st="2 1" cnt="1 0">
              <dgm:layoutNode name="mChild" styleLbl="fgAcc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05"/>
                  </dgm:adjLst>
                </dgm:shape>
                <dgm:presOf axis="desOrSelf" ptType="node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forEach name="Name54" axis="followSib" ptType="sibTrans" cnt="1">
                <dgm:layoutNode name="middleSibTrans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userA"/>
                    <dgm:constr type="w" refType="userA" fact="0.015"/>
                    <dgm:constr type="h" refType="userA" fact="0.015"/>
                  </dgm:constrLst>
                  <dgm:ruleLst/>
                </dgm:layoutNode>
              </dgm:forEach>
            </dgm:forEach>
          </dgm:layoutNode>
        </dgm:layoutNode>
      </dgm:if>
      <dgm:else name="Name55"/>
    </dgm:choose>
    <dgm:choose name="Name56">
      <dgm:if name="Name57" axis="root ch" ptType="all node" st="1 1" cnt="0 0" func="cnt" op="gte" val="3">
        <dgm:layoutNode name="centerBox">
          <dgm:alg type="composite">
            <dgm:param type="horzAlign" val="none"/>
            <dgm:param type="vertAlign" val="none"/>
          </dgm:alg>
          <dgm:shape xmlns:r="http://schemas.openxmlformats.org/officeDocument/2006/relationships" r:blip="">
            <dgm:adjLst/>
          </dgm:shape>
          <dgm:presOf/>
          <dgm:choose name="Name58">
            <dgm:if name="Name59" axis="ch ch" ptType="node node" st="3 1" cnt="1 0" func="cnt" op="gt" val="0">
              <dgm:constrLst>
                <dgm:constr type="l" for="ch" forName="centerBoxParent"/>
                <dgm:constr type="t" for="ch" forName="centerBoxParent"/>
                <dgm:constr type="w" for="ch" forName="centerBoxParent" refType="w"/>
                <dgm:constr type="h" for="ch" forName="centerBoxParent" refType="h"/>
                <dgm:constr type="bMarg" for="ch" forName="centerBoxParent" refType="h" fact="1.6"/>
                <dgm:constr type="l" for="ch" forName="centerBoxChildren" refType="w" fact="0.025"/>
                <dgm:constr type="t" for="ch" forName="centerBoxChildren" refType="h" fact="0.45"/>
                <dgm:constr type="w" for="ch" forName="centerBoxChildren" refType="w" fact="0.95"/>
                <dgm:constr type="h" for="ch" forName="centerBoxChildren" refType="h" fact="0.45"/>
              </dgm:constrLst>
            </dgm:if>
            <dgm:else name="Name60">
              <dgm:constrLst>
                <dgm:constr type="l" for="ch" forName="centerBoxParent"/>
                <dgm:constr type="t" for="ch" forName="centerBoxParent"/>
                <dgm:constr type="w" for="ch" forName="centerBoxParent" refType="w"/>
                <dgm:constr type="h" for="ch" forName="centerBoxParent" refType="h"/>
              </dgm:constrLst>
            </dgm:else>
          </dgm:choose>
          <dgm:ruleLst/>
          <dgm:layoutNode name="centerBoxParent" styleLbl="node1">
            <dgm:alg type="tx">
              <dgm:param type="txAnchorVert" val="t"/>
              <dgm:param type="parTxLTRAlign" val="l"/>
              <dgm:param type="parTxRTLAlign" val="r"/>
            </dgm:alg>
            <dgm:shape xmlns:r="http://schemas.openxmlformats.org/officeDocument/2006/relationships" type="roundRect" r:blip="">
              <dgm:adjLst>
                <dgm:adj idx="1" val="0.105"/>
              </dgm:adjLst>
            </dgm:shape>
            <dgm:presOf axis="ch" ptType="node" st="3" cnt="1"/>
            <dgm:constrLst>
              <dgm:constr type="tMarg" refType="primFontSz" fact="0.3"/>
              <dgm:constr type="lMarg" refType="primFontSz" fact="0.3"/>
              <dgm:constr type="rMarg" refType="primFontSz" fact="0.3"/>
            </dgm:constrLst>
            <dgm:ruleLst>
              <dgm:rule type="primFontSz" val="5" fact="NaN" max="NaN"/>
            </dgm:ruleLst>
          </dgm:layoutNode>
          <dgm:choose name="Name61">
            <dgm:if name="Name62" axis="ch ch" ptType="node node" st="3 1" cnt="1 0" func="cnt" op="gt" val="0">
              <dgm:layoutNode name="centerBoxChildren">
                <dgm:choose name="Name63">
                  <dgm:if name="Name64" func="var" arg="dir" op="equ" val="norm">
                    <dgm:alg type="lin">
                      <dgm:param type="horzAlign" val="l"/>
                    </dgm:alg>
                  </dgm:if>
                  <dgm:else name="Name65">
                    <dgm:alg type="lin">
                      <dgm:param type="linDir" val="fromR"/>
                      <dgm:param type="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w" for="ch" forName="cChild" refType="w"/>
                  <dgm:constr type="h" for="ch" forName="cChild" refType="h"/>
                </dgm:constrLst>
                <dgm:ruleLst/>
                <dgm:forEach name="Name66" axis="ch ch" ptType="node node" st="3 1" cnt="1 0">
                  <dgm:layoutNode name="cChild" styleLbl="fgAcc1">
                    <dgm:varLst>
                      <dgm:bulletEnabled val="1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05"/>
                      </dgm:adjLst>
                    </dgm:shape>
                    <dgm:presOf axis="desOrSelf" ptType="node"/>
                    <dgm:constrLst>
                      <dgm:constr type="tMarg" refType="primFontSz" fact="0.3"/>
                      <dgm:constr type="bMarg" refType="primFontSz" fact="0.3"/>
                      <dgm:constr type="lMarg" refType="primFontSz" fact="0.3"/>
                      <dgm:constr type="rMarg" refType="primFontSz" fact="0.3"/>
                    </dgm:constrLst>
                    <dgm:ruleLst>
                      <dgm:rule type="primFontSz" val="5" fact="NaN" max="NaN"/>
                    </dgm:ruleLst>
                  </dgm:layoutNode>
                  <dgm:forEach name="Name67" axis="followSib" ptType="sibTrans" cnt="1">
                    <dgm:layoutNode name="centerSibTrans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  <dgm:constrLst>
                        <dgm:constr type="userA"/>
                        <dgm:constr type="w" refType="userA" fact="0.015"/>
                        <dgm:constr type="h" refType="userA" fact="0.015"/>
                      </dgm:constrLst>
                      <dgm:ruleLst/>
                    </dgm:layoutNode>
                  </dgm:forEach>
                </dgm:forEach>
              </dgm:layoutNode>
            </dgm:if>
            <dgm:else name="Name68"/>
          </dgm:choose>
        </dgm:layoutNode>
      </dgm:if>
      <dgm:else name="Name69"/>
    </dgm:choose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layout14.xml><?xml version="1.0" encoding="utf-8"?>
<dgm:layoutDef xmlns:dgm="http://schemas.openxmlformats.org/drawingml/2006/diagram" xmlns:a="http://schemas.openxmlformats.org/drawingml/2006/main" uniqueId="urn:microsoft.com/office/officeart/2005/8/layout/venn2">
  <dgm:title val=""/>
  <dgm:desc val=""/>
  <dgm:catLst>
    <dgm:cat type="relationship" pri="3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hoose name="Name1">
      <dgm:if name="Name2" axis="ch" ptType="node" func="cnt" op="lte" val="3">
        <dgm:constrLst>
          <dgm:constr type="w" for="ch" forName="comp1" refType="w"/>
          <dgm:constr type="h" for="ch" forName="comp1" refType="w" refFor="ch" refForName="comp1"/>
          <dgm:constr type="w" for="ch" forName="comp2" refType="w" fact="0.7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5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primFontSz" for="des" ptType="node" op="equ" val="65"/>
        </dgm:constrLst>
      </dgm:if>
      <dgm:if name="Name3" axis="ch" ptType="node" func="cnt" op="equ" val="4">
        <dgm:constrLst>
          <dgm:constr type="w" for="ch" forName="comp1" refType="w"/>
          <dgm:constr type="h" for="ch" forName="comp1" refType="w" refFor="ch" refForName="comp1"/>
          <dgm:constr type="w" for="ch" forName="comp2" refType="w" fact="0.8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6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4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primFontSz" for="des" ptType="node" op="equ" val="65"/>
        </dgm:constrLst>
      </dgm:if>
      <dgm:else name="Name4">
        <dgm:constrLst>
          <dgm:constr type="w" for="ch" forName="comp1" refType="w"/>
          <dgm:constr type="h" for="ch" forName="comp1" refType="w" refFor="ch" refForName="comp1"/>
          <dgm:constr type="w" for="ch" forName="comp2" refType="w" fact="0.85"/>
          <dgm:constr type="h" for="ch" forName="comp2" refType="w" refFor="ch" refForName="comp2"/>
          <dgm:constr type="ctrX" for="ch" forName="comp2" refType="ctrX" refFor="ch" refForName="comp1"/>
          <dgm:constr type="b" for="ch" forName="comp2" refType="b" refFor="ch" refForName="comp1"/>
          <dgm:constr type="w" for="ch" forName="comp3" refType="w" fact="0.7"/>
          <dgm:constr type="h" for="ch" forName="comp3" refType="w" refFor="ch" refForName="comp3"/>
          <dgm:constr type="ctrX" for="ch" forName="comp3" refType="ctrX" refFor="ch" refForName="comp1"/>
          <dgm:constr type="b" for="ch" forName="comp3" refType="b" refFor="ch" refForName="comp1"/>
          <dgm:constr type="w" for="ch" forName="comp4" refType="w" fact="0.55"/>
          <dgm:constr type="h" for="ch" forName="comp4" refType="w" refFor="ch" refForName="comp4"/>
          <dgm:constr type="ctrX" for="ch" forName="comp4" refType="ctrX" refFor="ch" refForName="comp1"/>
          <dgm:constr type="b" for="ch" forName="comp4" refType="b" refFor="ch" refForName="comp1"/>
          <dgm:constr type="w" for="ch" forName="comp5" refType="w" fact="0.4"/>
          <dgm:constr type="h" for="ch" forName="comp5" refType="w" refFor="ch" refForName="comp5"/>
          <dgm:constr type="ctrX" for="ch" forName="comp5" refType="ctrX" refFor="ch" refForName="comp1"/>
          <dgm:constr type="b" for="ch" forName="comp5" refType="b" refFor="ch" refForName="comp1"/>
          <dgm:constr type="w" for="ch" forName="comp6" refType="w" fact="0.25"/>
          <dgm:constr type="h" for="ch" forName="comp6" refType="w" refFor="ch" refForName="comp6"/>
          <dgm:constr type="ctrX" for="ch" forName="comp6" refType="ctrX" refFor="ch" refForName="comp1"/>
          <dgm:constr type="b" for="ch" forName="comp6" refType="b" refFor="ch" refForName="comp1"/>
          <dgm:constr type="w" for="ch" forName="comp7" refType="w" fact="0.15"/>
          <dgm:constr type="h" for="ch" forName="comp7" refType="w" refFor="ch" refForName="comp7"/>
          <dgm:constr type="ctrX" for="ch" forName="comp7" refType="ctrX" refFor="ch" refForName="comp1"/>
          <dgm:constr type="b" for="ch" forName="comp7" refType="b" refFor="ch" refForName="comp1"/>
          <dgm:constr type="primFontSz" for="des" ptType="node" op="equ" val="65"/>
        </dgm:constrLst>
      </dgm:else>
    </dgm:choose>
    <dgm:ruleLst/>
    <dgm:choose name="Name5">
      <dgm:if name="Name6" axis="ch" ptType="node" func="cnt" op="gte" val="1">
        <dgm:layoutNode name="comp1">
          <dgm:alg type="composite"/>
          <dgm:shape xmlns:r="http://schemas.openxmlformats.org/officeDocument/2006/relationships" r:blip="">
            <dgm:adjLst/>
          </dgm:shape>
          <dgm:presOf/>
          <dgm:choose name="Name7">
            <dgm:if name="Name8" axis="ch" ptType="node" func="cnt" op="equ" val="1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5"/>
                <dgm:constr type="w" for="ch" forName="c1text" refType="w" refFor="ch" refForName="circle1" fact="0.70711"/>
                <dgm:constr type="h" for="ch" forName="c1text" refType="h" refFor="ch" refForName="circle1" fact="0.5"/>
              </dgm:constrLst>
            </dgm:if>
            <dgm:if name="Name9" axis="ch" ptType="node" func="cnt" op="equ" val="2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6"/>
                <dgm:constr type="w" for="ch" forName="c1text" refType="w" refFor="ch" refForName="circle1" fact="0.525"/>
                <dgm:constr type="h" for="ch" forName="c1text" refType="h" refFor="ch" refForName="circle1" fact="0.17"/>
              </dgm:constrLst>
            </dgm:if>
            <dgm:if name="Name10" axis="ch" ptType="node" func="cnt" op="equ" val="3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3495"/>
                <dgm:constr type="h" for="ch" forName="c1text" refType="h" refFor="ch" refForName="circle1" fact="0.15"/>
              </dgm:constrLst>
            </dgm:if>
            <dgm:if name="Name11" axis="ch" ptType="node" func="cnt" op="equ" val="4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25"/>
                <dgm:constr type="w" for="ch" forName="c1text" refType="w" refFor="ch" refForName="circle1" fact="0.2796"/>
                <dgm:constr type="h" for="ch" forName="c1text" refType="h" refFor="ch" refForName="circle1" fact="0.15"/>
              </dgm:constrLst>
            </dgm:if>
            <dgm:if name="Name12" axis="ch" ptType="node" func="cnt" op="gte" val="5">
              <dgm:constrLst>
                <dgm:constr type="w" for="ch" forName="circle1" refType="w"/>
                <dgm:constr type="h" for="ch" forName="circle1" refType="h"/>
                <dgm:constr type="ctrX" for="ch" forName="circle1" refType="w" fact="0.5"/>
                <dgm:constr type="ctrY" for="ch" forName="circle1" refType="h" fact="0.5"/>
                <dgm:constr type="ctrX" for="ch" forName="c1text" refType="w" fact="0.5"/>
                <dgm:constr type="ctrY" for="ch" forName="c1text" refType="h" fact="0.1"/>
                <dgm:constr type="w" for="ch" forName="c1text" refType="w" refFor="ch" refForName="circle1" fact="0.375"/>
                <dgm:constr type="h" for="ch" forName="c1text" refType="h" refFor="ch" refForName="circle1" fact="0.1"/>
              </dgm:constrLst>
            </dgm:if>
            <dgm:else name="Name13"/>
          </dgm:choose>
          <dgm:ruleLst/>
          <dgm:layoutNode name="circle1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1 1" cnt="1 0"/>
            <dgm:constrLst>
              <dgm:constr type="h" refType="w"/>
            </dgm:constrLst>
            <dgm:ruleLst/>
          </dgm:layoutNode>
          <dgm:layoutNode name="c1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1 1" cnt="1 0"/>
            <dgm:constrLst/>
            <dgm:ruleLst>
              <dgm:rule type="primFontSz" val="5" fact="NaN" max="NaN"/>
            </dgm:ruleLst>
          </dgm:layoutNode>
        </dgm:layoutNode>
      </dgm:if>
      <dgm:else name="Name14"/>
    </dgm:choose>
    <dgm:choose name="Name15">
      <dgm:if name="Name16" axis="ch" ptType="node" func="cnt" op="gte" val="2">
        <dgm:layoutNode name="comp2">
          <dgm:alg type="composite"/>
          <dgm:shape xmlns:r="http://schemas.openxmlformats.org/officeDocument/2006/relationships" r:blip="">
            <dgm:adjLst/>
          </dgm:shape>
          <dgm:presOf/>
          <dgm:choose name="Name17">
            <dgm:if name="Name18" axis="ch" ptType="node" func="cnt" op="equ" val="2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5"/>
                <dgm:constr type="w" for="ch" forName="c2text" refType="w" refFor="ch" refForName="circle2" fact="0.70711"/>
                <dgm:constr type="h" for="ch" forName="c2text" refType="h" refFor="ch" refForName="circle2" fact="0.5"/>
              </dgm:constrLst>
            </dgm:if>
            <dgm:if name="Name19" axis="ch" ptType="node" func="cnt" op="equ" val="3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625"/>
                <dgm:constr type="w" for="ch" forName="c2text" refType="w" refFor="ch" refForName="circle2" fact="0.466"/>
                <dgm:constr type="h" for="ch" forName="c2text" refType="h" refFor="ch" refForName="circle2" fact="0.1875"/>
              </dgm:constrLst>
            </dgm:if>
            <dgm:if name="Name20" axis="ch" ptType="node" func="cnt" op="equ" val="4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5"/>
                <dgm:constr type="w" for="ch" forName="c2text" refType="w" refFor="ch" refForName="circle2" fact="0.3495"/>
                <dgm:constr type="h" for="ch" forName="c2text" refType="h" refFor="ch" refForName="circle2" fact="0.18"/>
              </dgm:constrLst>
            </dgm:if>
            <dgm:if name="Name21" axis="ch" ptType="node" func="cnt" op="gte" val="5">
              <dgm:constrLst>
                <dgm:constr type="w" for="ch" forName="circle2" refType="w"/>
                <dgm:constr type="h" for="ch" forName="circle2" refType="h"/>
                <dgm:constr type="ctrX" for="ch" forName="circle2" refType="w" fact="0.5"/>
                <dgm:constr type="ctrY" for="ch" forName="circle2" refType="h" fact="0.5"/>
                <dgm:constr type="ctrX" for="ch" forName="c2text" refType="w" fact="0.5"/>
                <dgm:constr type="ctrY" for="ch" forName="c2text" refType="h" fact="0.115"/>
                <dgm:constr type="w" for="ch" forName="c2text" refType="w" refFor="ch" refForName="circle2" fact="0.43125"/>
                <dgm:constr type="h" for="ch" forName="c2text" refType="h" refFor="ch" refForName="circle2" fact="0.115"/>
              </dgm:constrLst>
            </dgm:if>
            <dgm:else name="Name22"/>
          </dgm:choose>
          <dgm:ruleLst/>
          <dgm:layoutNode name="circle2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2 1" cnt="1 0"/>
            <dgm:constrLst>
              <dgm:constr type="h" refType="w"/>
            </dgm:constrLst>
            <dgm:ruleLst/>
          </dgm:layoutNode>
          <dgm:layoutNode name="c2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2 1" cnt="1 0"/>
            <dgm:constrLst/>
            <dgm:ruleLst>
              <dgm:rule type="primFontSz" val="5" fact="NaN" max="NaN"/>
            </dgm:ruleLst>
          </dgm:layoutNode>
        </dgm:layoutNode>
      </dgm:if>
      <dgm:else name="Name23"/>
    </dgm:choose>
    <dgm:choose name="Name24">
      <dgm:if name="Name25" axis="ch" ptType="node" func="cnt" op="gte" val="3">
        <dgm:layoutNode name="comp3">
          <dgm:alg type="composite"/>
          <dgm:shape xmlns:r="http://schemas.openxmlformats.org/officeDocument/2006/relationships" r:blip="">
            <dgm:adjLst/>
          </dgm:shape>
          <dgm:presOf/>
          <dgm:choose name="Name26">
            <dgm:if name="Name27" axis="ch" ptType="node" func="cnt" op="equ" val="3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5"/>
                <dgm:constr type="w" for="ch" forName="c3text" refType="w" refFor="ch" refForName="circle3" fact="0.70711"/>
                <dgm:constr type="h" for="ch" forName="c3text" refType="h" refFor="ch" refForName="circle3" fact="0.5"/>
              </dgm:constrLst>
            </dgm:if>
            <dgm:if name="Name28" axis="ch" ptType="node" func="cnt" op="equ" val="4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875"/>
                <dgm:constr type="w" for="ch" forName="c3text" refType="w" refFor="ch" refForName="circle3" fact="0.466"/>
                <dgm:constr type="h" for="ch" forName="c3text" refType="h" refFor="ch" refForName="circle3" fact="0.225"/>
              </dgm:constrLst>
            </dgm:if>
            <dgm:if name="Name29" axis="ch" ptType="node" func="cnt" op="gte" val="5">
              <dgm:constrLst>
                <dgm:constr type="w" for="ch" forName="circle3" refType="w"/>
                <dgm:constr type="h" for="ch" forName="circle3" refType="h"/>
                <dgm:constr type="ctrX" for="ch" forName="circle3" refType="w" fact="0.5"/>
                <dgm:constr type="ctrY" for="ch" forName="circle3" refType="h" fact="0.5"/>
                <dgm:constr type="ctrX" for="ch" forName="c3text" refType="w" fact="0.5"/>
                <dgm:constr type="ctrY" for="ch" forName="c3text" refType="h" fact="0.138"/>
                <dgm:constr type="w" for="ch" forName="c3text" refType="w" refFor="ch" refForName="circle3" fact="0.5175"/>
                <dgm:constr type="h" for="ch" forName="c3text" refType="h" refFor="ch" refForName="circle3" fact="0.138"/>
              </dgm:constrLst>
            </dgm:if>
            <dgm:else name="Name30"/>
          </dgm:choose>
          <dgm:ruleLst/>
          <dgm:layoutNode name="circle3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3 1" cnt="1 0"/>
            <dgm:constrLst>
              <dgm:constr type="h" refType="w"/>
            </dgm:constrLst>
            <dgm:ruleLst/>
          </dgm:layoutNode>
          <dgm:layoutNode name="c3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3 1" cnt="1 0"/>
            <dgm:constrLst/>
            <dgm:ruleLst>
              <dgm:rule type="primFontSz" val="5" fact="NaN" max="NaN"/>
            </dgm:ruleLst>
          </dgm:layoutNode>
        </dgm:layoutNode>
      </dgm:if>
      <dgm:else name="Name31"/>
    </dgm:choose>
    <dgm:choose name="Name32">
      <dgm:if name="Name33" axis="ch" ptType="node" func="cnt" op="gte" val="4">
        <dgm:layoutNode name="comp4">
          <dgm:alg type="composite"/>
          <dgm:shape xmlns:r="http://schemas.openxmlformats.org/officeDocument/2006/relationships" r:blip="">
            <dgm:adjLst/>
          </dgm:shape>
          <dgm:presOf/>
          <dgm:choose name="Name34">
            <dgm:if name="Name35" axis="ch" ptType="node" func="cnt" op="equ" val="4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5"/>
                <dgm:constr type="w" for="ch" forName="c4text" refType="w" refFor="ch" refForName="circle4" fact="0.70711"/>
                <dgm:constr type="h" for="ch" forName="c4text" refType="h" refFor="ch" refForName="circle4" fact="0.5"/>
              </dgm:constrLst>
            </dgm:if>
            <dgm:if name="Name36" axis="ch" ptType="node" func="cnt" op="gte" val="5">
              <dgm:constrLst>
                <dgm:constr type="w" for="ch" forName="circle4" refType="w"/>
                <dgm:constr type="h" for="ch" forName="circle4" refType="h"/>
                <dgm:constr type="ctrX" for="ch" forName="circle4" refType="w" fact="0.5"/>
                <dgm:constr type="ctrY" for="ch" forName="circle4" refType="h" fact="0.5"/>
                <dgm:constr type="ctrX" for="ch" forName="c4text" refType="w" fact="0.5"/>
                <dgm:constr type="ctrY" for="ch" forName="c4text" refType="h" fact="0.18"/>
                <dgm:constr type="w" for="ch" forName="c4text" refType="w" refFor="ch" refForName="circle4" fact="0.54"/>
                <dgm:constr type="h" for="ch" forName="c4text" refType="h" refFor="ch" refForName="circle4" fact="0.18"/>
              </dgm:constrLst>
            </dgm:if>
            <dgm:else name="Name37"/>
          </dgm:choose>
          <dgm:ruleLst/>
          <dgm:layoutNode name="circle4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4 1" cnt="1 0"/>
            <dgm:constrLst>
              <dgm:constr type="h" refType="w"/>
            </dgm:constrLst>
            <dgm:ruleLst/>
          </dgm:layoutNode>
          <dgm:layoutNode name="c4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4 1" cnt="1 0"/>
            <dgm:constrLst/>
            <dgm:ruleLst>
              <dgm:rule type="primFontSz" val="5" fact="NaN" max="NaN"/>
            </dgm:ruleLst>
          </dgm:layoutNode>
        </dgm:layoutNode>
      </dgm:if>
      <dgm:else name="Name38"/>
    </dgm:choose>
    <dgm:choose name="Name39">
      <dgm:if name="Name40" axis="ch" ptType="node" func="cnt" op="gte" val="5">
        <dgm:layoutNode name="comp5">
          <dgm:alg type="composite"/>
          <dgm:shape xmlns:r="http://schemas.openxmlformats.org/officeDocument/2006/relationships" r:blip="">
            <dgm:adjLst/>
          </dgm:shape>
          <dgm:presOf/>
          <dgm:choose name="Name41">
            <dgm:if name="Name42" axis="ch" ptType="node" func="cnt" op="equ" val="5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5"/>
                <dgm:constr type="w" for="ch" forName="c5text" refType="w" refFor="ch" refForName="circle5" fact="0.70711"/>
                <dgm:constr type="h" for="ch" forName="c5text" refType="h" refFor="ch" refForName="circle5" fact="0.5"/>
              </dgm:constrLst>
            </dgm:if>
            <dgm:if name="Name43" axis="ch" ptType="node" func="cnt" op="gte" val="6">
              <dgm:constrLst>
                <dgm:constr type="w" for="ch" forName="circle5" refType="w"/>
                <dgm:constr type="h" for="ch" forName="circle5" refType="h"/>
                <dgm:constr type="ctrX" for="ch" forName="circle5" refType="w" fact="0.5"/>
                <dgm:constr type="ctrY" for="ch" forName="circle5" refType="h" fact="0.5"/>
                <dgm:constr type="ctrX" for="ch" forName="c5text" refType="w" fact="0.5"/>
                <dgm:constr type="ctrY" for="ch" forName="c5text" refType="h" fact="0.25"/>
                <dgm:constr type="w" for="ch" forName="c5text" refType="w" refFor="ch" refForName="circle5" fact="0.65"/>
                <dgm:constr type="h" for="ch" forName="c5text" refType="h" refFor="ch" refForName="circle5" fact="0.25"/>
              </dgm:constrLst>
            </dgm:if>
            <dgm:else name="Name44"/>
          </dgm:choose>
          <dgm:ruleLst/>
          <dgm:layoutNode name="circle5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5 1" cnt="1 0"/>
            <dgm:constrLst>
              <dgm:constr type="h" refType="w"/>
            </dgm:constrLst>
            <dgm:ruleLst/>
          </dgm:layoutNode>
          <dgm:layoutNode name="c5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5 1" cnt="1 0"/>
            <dgm:constrLst/>
            <dgm:ruleLst>
              <dgm:rule type="primFontSz" val="5" fact="NaN" max="NaN"/>
            </dgm:ruleLst>
          </dgm:layoutNode>
        </dgm:layoutNode>
      </dgm:if>
      <dgm:else name="Name45"/>
    </dgm:choose>
    <dgm:choose name="Name46">
      <dgm:if name="Name47" axis="ch" ptType="node" func="cnt" op="gte" val="6">
        <dgm:layoutNode name="comp6">
          <dgm:alg type="composite"/>
          <dgm:shape xmlns:r="http://schemas.openxmlformats.org/officeDocument/2006/relationships" r:blip="">
            <dgm:adjLst/>
          </dgm:shape>
          <dgm:presOf/>
          <dgm:choose name="Name48">
            <dgm:if name="Name49" axis="ch" ptType="node" func="cnt" op="equ" val="6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5"/>
                <dgm:constr type="w" for="ch" forName="c6text" refType="w" refFor="ch" refForName="circle6" fact="0.70711"/>
                <dgm:constr type="h" for="ch" forName="c6text" refType="h" refFor="ch" refForName="circle6" fact="0.5"/>
              </dgm:constrLst>
            </dgm:if>
            <dgm:if name="Name50" axis="ch" ptType="node" func="cnt" op="gte" val="7">
              <dgm:constrLst>
                <dgm:constr type="w" for="ch" forName="circle6" refType="w"/>
                <dgm:constr type="h" for="ch" forName="circle6" refType="h"/>
                <dgm:constr type="ctrX" for="ch" forName="circle6" refType="w" fact="0.5"/>
                <dgm:constr type="ctrY" for="ch" forName="circle6" refType="h" fact="0.5"/>
                <dgm:constr type="ctrX" for="ch" forName="c6text" refType="w" fact="0.5"/>
                <dgm:constr type="ctrY" for="ch" forName="c6text" refType="h" fact="0.27"/>
                <dgm:constr type="w" for="ch" forName="c6text" refType="w" refFor="ch" refForName="circle6" fact="0.68"/>
                <dgm:constr type="h" for="ch" forName="c6text" refType="h" refFor="ch" refForName="circle6" fact="0.241"/>
              </dgm:constrLst>
            </dgm:if>
            <dgm:else name="Name51"/>
          </dgm:choose>
          <dgm:ruleLst/>
          <dgm:layoutNode name="circle6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6 1" cnt="1 0"/>
            <dgm:constrLst>
              <dgm:constr type="h" refType="w"/>
            </dgm:constrLst>
            <dgm:ruleLst/>
          </dgm:layoutNode>
          <dgm:layoutNode name="c6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6 1" cnt="1 0"/>
            <dgm:constrLst/>
            <dgm:ruleLst>
              <dgm:rule type="primFontSz" val="5" fact="NaN" max="NaN"/>
            </dgm:ruleLst>
          </dgm:layoutNode>
        </dgm:layoutNode>
      </dgm:if>
      <dgm:else name="Name52"/>
    </dgm:choose>
    <dgm:choose name="Name53">
      <dgm:if name="Name54" axis="ch" ptType="node" func="cnt" op="gte" val="7">
        <dgm:layoutNode name="comp7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circle7" refType="w"/>
            <dgm:constr type="h" for="ch" forName="circle7" refType="h"/>
            <dgm:constr type="ctrX" for="ch" forName="circle7" refType="w" fact="0.5"/>
            <dgm:constr type="ctrY" for="ch" forName="circle7" refType="h" fact="0.5"/>
            <dgm:constr type="ctrX" for="ch" forName="c7text" refType="w" fact="0.5"/>
            <dgm:constr type="ctrY" for="ch" forName="c7text" refType="h" fact="0.5"/>
            <dgm:constr type="w" for="ch" forName="c7text" refType="w" refFor="ch" refForName="circle7" fact="0.70711"/>
            <dgm:constr type="h" for="ch" forName="c7text" refType="h" refFor="ch" refForName="circle7" fact="0.5"/>
          </dgm:constrLst>
          <dgm:ruleLst/>
          <dgm:layoutNode name="circle7" styleLbl="node1">
            <dgm:alg type="sp"/>
            <dgm:shape xmlns:r="http://schemas.openxmlformats.org/officeDocument/2006/relationships" type="ellipse" r:blip="">
              <dgm:adjLst/>
            </dgm:shape>
            <dgm:presOf axis="ch desOrSelf" ptType="node node" st="7 1" cnt="1 0"/>
            <dgm:constrLst>
              <dgm:constr type="h" refType="w"/>
            </dgm:constrLst>
            <dgm:ruleLst/>
          </dgm:layoutNode>
          <dgm:layoutNode name="c7text">
            <dgm:varLst>
              <dgm:bulletEnabled val="1"/>
            </dgm:varLst>
            <dgm:alg type="tx"/>
            <dgm:shape xmlns:r="http://schemas.openxmlformats.org/officeDocument/2006/relationships" type="rect" r:blip="" hideGeom="1">
              <dgm:adjLst/>
            </dgm:shape>
            <dgm:presOf axis="ch desOrSelf" ptType="node node" st="7 1" cnt="1 0"/>
            <dgm:constrLst/>
            <dgm:ruleLst>
              <dgm:rule type="primFontSz" val="5" fact="NaN" max="NaN"/>
            </dgm:ruleLst>
          </dgm:layoutNode>
        </dgm:layoutNode>
      </dgm:if>
      <dgm:else name="Name55"/>
    </dgm:choose>
  </dgm:layoutNode>
</dgm:layoutDef>
</file>

<file path=ppt/diagrams/layout15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16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17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18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19.xml><?xml version="1.0" encoding="utf-8"?>
<dgm:layoutDef xmlns:dgm="http://schemas.openxmlformats.org/drawingml/2006/diagram" xmlns:a="http://schemas.openxmlformats.org/drawingml/2006/main" uniqueId="urn:microsoft.com/office/officeart/2005/8/layout/hierarchy3">
  <dgm:title val=""/>
  <dgm:desc val=""/>
  <dgm:catLst>
    <dgm:cat type="hierarchy" pri="7000"/>
    <dgm:cat type="list" pri="23000"/>
    <dgm:cat type="relationship" pri="15000"/>
    <dgm:cat type="convert" pri="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  <dgm:cxn modelId="7" srcId="0" destId="2" srcOrd="1" destOrd="0"/>
        <dgm:cxn modelId="8" srcId="2" destId="21" srcOrd="0" destOrd="0"/>
        <dgm:cxn modelId="9" srcId="2" destId="2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w" for="des" forName="rootComposite" refType="w"/>
      <dgm:constr type="h" for="des" forName="rootComposite" refType="w" fact="0.5"/>
      <dgm:constr type="w" for="des" forName="childText" refType="w" refFor="des" refForName="rootComposite" fact="0.8"/>
      <dgm:constr type="h" for="des" forName="childText" refType="h" refFor="des" refForName="rootComposite"/>
      <dgm:constr type="sibSp" refType="w" refFor="des" refForName="rootComposite" fact="0.25"/>
      <dgm:constr type="sibSp" for="des" forName="childShape" refType="h" refFor="des" refForName="childText" fact="0.25"/>
      <dgm:constr type="sp" for="des" forName="root" refType="h" refFor="des" refForName="childText" fact="0.25"/>
    </dgm:constrLst>
    <dgm:ruleLst/>
    <dgm:forEach name="Name3" axis="ch">
      <dgm:forEach name="Name4" axis="self" ptType="node" cnt="1">
        <dgm:layoutNode name="root">
          <dgm:choose name="Name5">
            <dgm:if name="Name6" func="var" arg="dir" op="equ" val="norm">
              <dgm:alg type="hierRoot">
                <dgm:param type="hierAlign" val="tL"/>
              </dgm:alg>
            </dgm:if>
            <dgm:else name="Name7">
              <dgm:alg type="hierRoot">
                <dgm:param type="hierAlign" val="tR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>
            <dgm:constr type="alignOff" val="0.2"/>
          </dgm:constrLst>
          <dgm:ruleLst/>
          <dgm:layoutNode name="rootComposite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8">
              <dgm:if name="Name9" func="var" arg="dir" op="equ" val="norm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l" for="ch" forName="rootConnector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if>
              <dgm:else name="Name10">
                <dgm:constrLst>
                  <dgm:constr type="l" for="ch" forName="rootText"/>
                  <dgm:constr type="t" for="ch" forName="rootText"/>
                  <dgm:constr type="w" for="ch" forName="rootText" refType="w"/>
                  <dgm:constr type="h" for="ch" forName="rootText" refType="h"/>
                  <dgm:constr type="r" for="ch" forName="rootConnector" refType="w"/>
                  <dgm:constr type="t" for="ch" forName="rootConnector"/>
                  <dgm:constr type="w" for="ch" forName="rootConnector" refType="w" refFor="ch" refForName="rootText" fact="0.2"/>
                  <dgm:constr type="h" for="ch" forName="rootConnector" refType="h" refFor="ch" refForName="rootText"/>
                </dgm:constrLst>
              </dgm:else>
            </dgm:choose>
            <dgm:ruleLst/>
            <dgm:layoutNode name="rootText" styleLbl="node1"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</dgm:ruleLst>
            </dgm:layoutNode>
            <dgm:layoutNode name="rootConnector" moveWith="rootText">
              <dgm:alg type="sp"/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self" ptType="node" cnt="1"/>
              <dgm:constrLst/>
              <dgm:ruleLst/>
            </dgm:layoutNode>
          </dgm:layoutNode>
          <dgm:layoutNode name="childShape">
            <dgm:alg type="hierChild">
              <dgm:param type="chAlign" val="l"/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11" axis="ch">
              <dgm:forEach name="Name12" axis="self" ptType="parTrans" cnt="1">
                <dgm:layoutNode name="Name13">
                  <dgm:choose name="Name14">
                    <dgm:if name="Name15" func="var" arg="dir" op="equ" val="norm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L"/>
                      </dgm:alg>
                    </dgm:if>
                    <dgm:else name="Name16">
                      <dgm:alg type="conn">
                        <dgm:param type="dim" val="1D"/>
                        <dgm:param type="endSty" val="noArr"/>
                        <dgm:param type="connRout" val="bend"/>
                        <dgm:param type="srcNode" val="rootConnector"/>
                        <dgm:param type="begPts" val="bCtr"/>
                        <dgm:param type="endPts" val="mid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7" axis="self" ptType="node">
                <dgm:layoutNode name="childText" styleLbl="bgAcc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self desOrSelf" ptType="node node" st="1 1" cnt="1 0"/>
                  <dgm:constrLst>
                    <dgm:constr type="tMarg" refType="primFontSz" fact="0.1"/>
                    <dgm:constr type="bMarg" refType="primFontSz" fact="0.1"/>
                    <dgm:constr type="lMarg" refType="primFontSz" fact="0.15"/>
                    <dgm:constr type="rMarg" refType="primFontSz" fact="0.15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diagrams.loki3.com/BracketList+Icon">
  <dgm:title val="Lista de llaves verticales"/>
  <dgm:desc val="Se usa para mostrar bloques de información agrupados. Funciona bien con gran cantidad de texto de nivel 2."/>
  <dgm:catLst>
    <dgm:cat type="list" pri="4110"/>
    <dgm:cat type="officeonline" pri="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3" srcId="0" destId="1" srcOrd="0" destOrd="0"/>
        <dgm:cxn modelId="4" srcId="1" destId="11" srcOrd="0" destOrd="0"/>
        <dgm:cxn modelId="5" srcId="0" destId="2" srcOrd="0" destOrd="0"/>
        <dgm:cxn modelId="6" srcId="2" destId="21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V" refType="primFontSz" refFor="des" refForName="parTx" fact="0.1"/>
      <dgm:constr type="primFontSz" for="des" forName="parTx" val="65"/>
      <dgm:constr type="primFontSz" for="des" forName="desTx" refType="primFontSz" refFor="des" refForName="parTx"/>
      <dgm:constr type="h" for="des" forName="parTx" refType="primFontSz" refFor="des" refForName="parTx" fact="0.55"/>
      <dgm:constr type="h" for="des" forName="bracket" refType="primFontSz" refFor="des" refForName="parTx" fact="0.55"/>
      <dgm:constr type="h" for="des" forName="desTx" refType="primFontSz" refFor="des" refForName="parTx" fact="0.55"/>
    </dgm:constrLst>
    <dgm:ruleLst>
      <dgm:rule type="primFontSz" for="des" forName="parTx" val="5" fact="NaN" max="NaN"/>
    </dgm:ruleLst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Tx" refType="w" fact="0.25"/>
          <dgm:constr type="w" for="ch" forName="bracket" refType="w" fact="0.05"/>
          <dgm:constr type="w" for="ch" forName="spH" refType="w" fact="0.02"/>
          <dgm:constr type="w" for="ch" forName="desTx" refType="w" fact="0.68"/>
          <dgm:constr type="h" for="ch" forName="bracket" refType="h" refFor="ch" refForName="desTx" op="gte"/>
          <dgm:constr type="h" for="ch" forName="bracket" refType="h" refFor="ch" refForName="parTx" op="gte"/>
          <dgm:constr type="h" for="ch" forName="desTx" refType="h" refFor="ch" refForName="parTx" op="gte"/>
        </dgm:constrLst>
        <dgm:ruleLst/>
        <dgm:layoutNode name="parTx" styleLbl="revTx">
          <dgm:varLst>
            <dgm:chMax val="1"/>
            <dgm:bulletEnabled val="1"/>
          </dgm:varLst>
          <dgm:choose name="Name8">
            <dgm:if name="Name9" func="var" arg="dir" op="equ" val="norm">
              <dgm:alg type="tx">
                <dgm:param type="parTxLTRAlign" val="r"/>
              </dgm:alg>
            </dgm:if>
            <dgm:else name="Name10">
              <dgm:alg type="tx">
                <dgm:param type="parTxLTRAlign" val="l"/>
              </dgm:alg>
            </dgm:else>
          </dgm:choose>
          <dgm:shape xmlns:r="http://schemas.openxmlformats.org/officeDocument/2006/relationships" type="rect" r:blip="">
            <dgm:adjLst/>
          </dgm:shape>
          <dgm:presOf axis="self" ptType="node"/>
          <dgm:constrLst>
            <dgm:constr type="tMarg" refType="primFontSz" fact="0.2"/>
            <dgm:constr type="bMarg" refType="primFontSz" fact="0.2"/>
          </dgm:constrLst>
          <dgm:ruleLst>
            <dgm:rule type="h" val="INF" fact="NaN" max="NaN"/>
          </dgm:ruleLst>
        </dgm:layoutNode>
        <dgm:layoutNode name="bracket" styleLbl="parChTrans1D1">
          <dgm:alg type="sp"/>
          <dgm:choose name="Name11">
            <dgm:if name="Name12" func="var" arg="dir" op="equ" val="norm">
              <dgm:shape xmlns:r="http://schemas.openxmlformats.org/officeDocument/2006/relationships" type="leftBrace" r:blip="">
                <dgm:adjLst>
                  <dgm:adj idx="1" val="0.35"/>
                </dgm:adjLst>
              </dgm:shape>
            </dgm:if>
            <dgm:else name="Name13">
              <dgm:shape xmlns:r="http://schemas.openxmlformats.org/officeDocument/2006/relationships" rot="180" type="leftBrace" r:blip="">
                <dgm:adjLst>
                  <dgm:adj idx="1" val="0.35"/>
                </dgm:adjLst>
              </dgm:shape>
            </dgm:else>
          </dgm:choose>
          <dgm:presOf/>
        </dgm:layoutNode>
        <dgm:layoutNode name="spH">
          <dgm:alg type="sp"/>
        </dgm:layoutNode>
        <dgm:choose name="Name14">
          <dgm:if name="Name15" axis="ch" ptType="node" func="cnt" op="gte" val="1">
            <dgm:layoutNode name="desTx" styleLbl="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secFontSz" refType="primFontSz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h" val="INF" fact="NaN" max="NaN"/>
              </dgm:ruleLst>
            </dgm:layoutNode>
          </dgm:if>
          <dgm:else name="Name16"/>
        </dgm:choose>
      </dgm:layoutNode>
      <dgm:forEach name="Name17" axis="followSib" ptType="sibTrans" cnt="1">
        <dgm:layoutNode name="spV">
          <dgm:alg type="sp"/>
        </dgm:layoutNode>
      </dgm:forEach>
    </dgm:forEach>
  </dgm:layoutNode>
</dgm:layoutDef>
</file>

<file path=ppt/diagrams/layout20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3#1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3#2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3#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3#4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radial3">
  <dgm:title val=""/>
  <dgm:desc val=""/>
  <dgm:catLst>
    <dgm:cat type="relationship" pri="31000"/>
    <dgm:cat type="cycle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/>
    <dgm:ruleLst/>
    <dgm:layoutNode name="radial">
      <dgm:varLst>
        <dgm:animLvl val="ctr"/>
      </dgm:varLst>
      <dgm:choose name="Name0">
        <dgm:if name="Name1" func="var" arg="dir" op="equ" val="norm">
          <dgm:choose name="Name2">
            <dgm:if name="Name3" axis="ch ch" ptType="node node" st="1 1" cnt="1 0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else name="Name4">
              <dgm:alg type="cycle">
                <dgm:param type="stAng" val="0"/>
                <dgm:param type="spanAng" val="360"/>
                <dgm:param type="ctrShpMap" val="fNode"/>
              </dgm:alg>
            </dgm:else>
          </dgm:choose>
        </dgm:if>
        <dgm:else name="Name5">
          <dgm:alg type="cycle">
            <dgm:param type="stAng" val="0"/>
            <dgm:param type="spanAng" val="-360"/>
            <dgm:param type="ctrShpMap" val="fNode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enterShape" refType="w"/>
        <dgm:constr type="h" for="ch" forName="centerShape" refType="h"/>
        <dgm:constr type="w" for="ch" forName="node" refType="w" fact="0.5"/>
        <dgm:constr type="h" for="ch" forName="node" refType="h" fact="0.5"/>
        <dgm:constr type="sp" refType="w" refFor="ch" refForName="node" fact="-0.2"/>
        <dgm:constr type="sibSp" refType="w" refFor="ch" refForName="node" fact="-0.2"/>
        <dgm:constr type="primFontSz" for="ch" forName="centerShape" val="65"/>
        <dgm:constr type="primFontSz" for="des" forName="node" val="65"/>
        <dgm:constr type="primFontSz" for="ch" forName="node" refType="primFontSz" refFor="ch" refForName="centerShape" op="lte"/>
      </dgm:constrLst>
      <dgm:ruleLst/>
      <dgm:forEach name="Name6" axis="ch" ptType="node" cnt="1">
        <dgm:layoutNode name="centerShape" styleLbl="vennNode1"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7" axis="ch" ptType="node">
          <dgm:layoutNode name="node" styleLbl="venn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</dgm:forEach>
    </dgm:layoutNode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5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3" name="2 Marcador de fecha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ea typeface="ＭＳ Ｐゴシック" pitchFamily="34" charset="-128"/>
              </a:defRPr>
            </a:lvl1pPr>
          </a:lstStyle>
          <a:p>
            <a:pPr>
              <a:defRPr/>
            </a:pPr>
            <a:fld id="{6516B628-9739-43AD-BE19-4870F3FE13DD}" type="datetime1">
              <a:rPr lang="es-ES"/>
              <a:pPr>
                <a:defRPr/>
              </a:pPr>
              <a:t>14/03/2014</a:t>
            </a:fld>
            <a:endParaRPr lang="es-ES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ea typeface="ＭＳ Ｐゴシック" pitchFamily="34" charset="-128"/>
              </a:defRPr>
            </a:lvl1pPr>
          </a:lstStyle>
          <a:p>
            <a:pPr>
              <a:defRPr/>
            </a:pPr>
            <a:fld id="{0589BC2B-E92E-4FC9-B543-5C68BE3BED57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  <p:extLst>
      <p:ext uri="{BB962C8B-B14F-4D97-AF65-F5344CB8AC3E}">
        <p14:creationId xmlns="" xmlns:p14="http://schemas.microsoft.com/office/powerpoint/2010/main" val="40094027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ea typeface="ＭＳ Ｐゴシック" pitchFamily="34" charset="-128"/>
              </a:defRPr>
            </a:lvl1pPr>
          </a:lstStyle>
          <a:p>
            <a:pPr>
              <a:defRPr/>
            </a:pPr>
            <a:fld id="{70760F88-A26F-4D49-AEC5-7CBCA0A09A25}" type="datetime1">
              <a:rPr lang="en-US"/>
              <a:pPr>
                <a:defRPr/>
              </a:pPr>
              <a:t>3/14/201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s-CO" noProof="0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s-ES_tradnl" noProof="0" smtClean="0"/>
              <a:t>Click to edit Master text styles</a:t>
            </a:r>
          </a:p>
          <a:p>
            <a:pPr lvl="1"/>
            <a:r>
              <a:rPr lang="es-ES_tradnl" noProof="0" smtClean="0"/>
              <a:t>Second level</a:t>
            </a:r>
          </a:p>
          <a:p>
            <a:pPr lvl="2"/>
            <a:r>
              <a:rPr lang="es-ES_tradnl" noProof="0" smtClean="0"/>
              <a:t>Third level</a:t>
            </a:r>
          </a:p>
          <a:p>
            <a:pPr lvl="3"/>
            <a:r>
              <a:rPr lang="es-ES_tradnl" noProof="0" smtClean="0"/>
              <a:t>Fourth level</a:t>
            </a:r>
          </a:p>
          <a:p>
            <a:pPr lvl="4"/>
            <a:r>
              <a:rPr lang="es-ES_tradnl" noProof="0" smtClean="0"/>
              <a:t>Fifth level</a:t>
            </a:r>
            <a:endParaRPr lang="en-US" noProof="0" smtClean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ea typeface="ＭＳ Ｐゴシック" pitchFamily="34" charset="-128"/>
              </a:defRPr>
            </a:lvl1pPr>
          </a:lstStyle>
          <a:p>
            <a:pPr>
              <a:defRPr/>
            </a:pPr>
            <a:fld id="{CBF81F2F-DDA8-4DE7-A0EA-FADB6AAF1065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24759644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34" charset="-128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34" charset="-128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34" charset="-128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34" charset="-128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34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8131" name="2 Marcador de notas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ES" smtClean="0"/>
          </a:p>
        </p:txBody>
      </p:sp>
      <p:sp>
        <p:nvSpPr>
          <p:cNvPr id="48132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fld id="{7ADF4515-A31E-49EF-95B1-2EEF72CF8BF7}" type="slidenum">
              <a:rPr lang="en-US" sz="1200" smtClean="0"/>
              <a:pPr/>
              <a:t>1</a:t>
            </a:fld>
            <a:endParaRPr lang="en-US" sz="120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Marcador de imagen de diapositiva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1" name="Marcador de nota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CO" smtClean="0">
              <a:solidFill>
                <a:srgbClr val="000000"/>
              </a:solidFill>
            </a:endParaRPr>
          </a:p>
        </p:txBody>
      </p:sp>
      <p:sp>
        <p:nvSpPr>
          <p:cNvPr id="32772" name="Marcador de número de diapositiva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868" indent="-285718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2874" indent="-228574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023" indent="-228574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173" indent="-228574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322" indent="-228574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471" indent="-228574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8620" indent="-228574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5770" indent="-228574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/>
            <a:fld id="{239B917B-93DA-4D97-89DF-7904C8A27C4A}" type="slidenum">
              <a:rPr lang="en-US" sz="1200">
                <a:solidFill>
                  <a:srgbClr val="000000"/>
                </a:solidFill>
              </a:rPr>
              <a:pPr eaLnBrk="1"/>
              <a:t>15</a:t>
            </a:fld>
            <a:endParaRPr lang="en-US" sz="12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4535178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Marcador de imagen de diapositiva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1" name="Marcador de nota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CO" smtClean="0">
              <a:solidFill>
                <a:srgbClr val="000000"/>
              </a:solidFill>
            </a:endParaRPr>
          </a:p>
        </p:txBody>
      </p:sp>
      <p:sp>
        <p:nvSpPr>
          <p:cNvPr id="32772" name="Marcador de número de diapositiva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868" indent="-285718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2874" indent="-228574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023" indent="-228574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173" indent="-228574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322" indent="-228574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471" indent="-228574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8620" indent="-228574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5770" indent="-228574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/>
            <a:fld id="{239B917B-93DA-4D97-89DF-7904C8A27C4A}" type="slidenum">
              <a:rPr lang="en-US" sz="1200">
                <a:solidFill>
                  <a:srgbClr val="000000"/>
                </a:solidFill>
              </a:rPr>
              <a:pPr eaLnBrk="1"/>
              <a:t>16</a:t>
            </a:fld>
            <a:endParaRPr lang="en-US" sz="12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7986967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Marcador de imagen de diapositiva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2771" name="Marcador de nota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CO" smtClean="0">
              <a:solidFill>
                <a:srgbClr val="000000"/>
              </a:solidFill>
            </a:endParaRPr>
          </a:p>
        </p:txBody>
      </p:sp>
      <p:sp>
        <p:nvSpPr>
          <p:cNvPr id="32772" name="Marcador de número de diapositiva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868" indent="-285718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2874" indent="-228574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023" indent="-228574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173" indent="-228574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322" indent="-228574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471" indent="-228574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8620" indent="-228574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5770" indent="-228574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/>
            <a:fld id="{239B917B-93DA-4D97-89DF-7904C8A27C4A}" type="slidenum">
              <a:rPr lang="en-US" sz="1200">
                <a:solidFill>
                  <a:srgbClr val="000000"/>
                </a:solidFill>
              </a:rPr>
              <a:pPr eaLnBrk="1"/>
              <a:t>17</a:t>
            </a:fld>
            <a:endParaRPr lang="en-US" sz="12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1044757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38F8496-B48B-4EC2-A9DB-6C910AC0A3F7}" type="slidenum">
              <a:rPr lang="es-CO" smtClean="0"/>
              <a:pPr/>
              <a:t>19</a:t>
            </a:fld>
            <a:endParaRPr lang="es-CO"/>
          </a:p>
        </p:txBody>
      </p:sp>
    </p:spTree>
    <p:extLst>
      <p:ext uri="{BB962C8B-B14F-4D97-AF65-F5344CB8AC3E}">
        <p14:creationId xmlns="" xmlns:p14="http://schemas.microsoft.com/office/powerpoint/2010/main" val="33621835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267" name="2 Marcador de notas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CO" altLang="es-CO" smtClean="0"/>
          </a:p>
        </p:txBody>
      </p:sp>
      <p:sp>
        <p:nvSpPr>
          <p:cNvPr id="11268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fld id="{7EB6C4B2-D08D-41F6-8D0F-1A1DADAF284C}" type="slidenum">
              <a:rPr lang="en-US" altLang="es-CO" sz="1200" smtClean="0"/>
              <a:pPr/>
              <a:t>20</a:t>
            </a:fld>
            <a:endParaRPr lang="en-US" altLang="es-CO" sz="1200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_tradnl" dirty="0" smtClean="0"/>
              <a:t>2011-dic-11 se eliminaron en</a:t>
            </a:r>
          </a:p>
          <a:p>
            <a:r>
              <a:rPr lang="es-ES_tradnl" dirty="0" smtClean="0"/>
              <a:t>Caja 5.</a:t>
            </a:r>
          </a:p>
          <a:p>
            <a:pPr marL="523010" lvl="1" indent="-170136">
              <a:buFont typeface="Arial" pitchFamily="34" charset="0"/>
              <a:buChar char="•"/>
              <a:defRPr/>
            </a:pPr>
            <a:r>
              <a:rPr lang="es-CO" dirty="0"/>
              <a:t>Emprendimientos de base tecnológica</a:t>
            </a:r>
          </a:p>
          <a:p>
            <a:pPr marL="623830" lvl="1" indent="-170136">
              <a:buFont typeface="Arial" pitchFamily="34" charset="0"/>
              <a:buChar char="•"/>
              <a:defRPr/>
            </a:pPr>
            <a:r>
              <a:rPr lang="es-ES" dirty="0" err="1"/>
              <a:t>Extensionismo</a:t>
            </a:r>
            <a:r>
              <a:rPr lang="es-ES" dirty="0"/>
              <a:t> tecnológico</a:t>
            </a:r>
            <a:endParaRPr lang="es-CO" dirty="0"/>
          </a:p>
          <a:p>
            <a:r>
              <a:rPr lang="es-ES_tradnl" dirty="0" smtClean="0"/>
              <a:t>Caja 6.</a:t>
            </a:r>
          </a:p>
          <a:p>
            <a:pPr marL="283559" lvl="1" indent="-283559" defTabSz="907389">
              <a:buFont typeface="Arial" pitchFamily="34" charset="0"/>
              <a:buChar char="•"/>
              <a:defRPr/>
            </a:pPr>
            <a:r>
              <a:rPr lang="es-ES_tradnl" sz="1400" dirty="0">
                <a:latin typeface="Arial" pitchFamily="34" charset="0"/>
                <a:cs typeface="Arial" pitchFamily="34" charset="0"/>
              </a:rPr>
              <a:t>Regionales y Centros de </a:t>
            </a:r>
            <a:r>
              <a:rPr lang="es-ES_tradnl" dirty="0">
                <a:latin typeface="Arial" pitchFamily="34" charset="0"/>
                <a:cs typeface="Arial" pitchFamily="34" charset="0"/>
              </a:rPr>
              <a:t>Formación</a:t>
            </a:r>
            <a:endParaRPr lang="es-CO" dirty="0">
              <a:latin typeface="Arial" pitchFamily="34" charset="0"/>
              <a:cs typeface="Arial" pitchFamily="34" charset="0"/>
            </a:endParaRPr>
          </a:p>
          <a:p>
            <a:r>
              <a:rPr lang="es-ES_tradnl" dirty="0" smtClean="0"/>
              <a:t>	</a:t>
            </a:r>
            <a:endParaRPr lang="es-CO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0C1413D-930C-49C0-8CDB-8199ADDC7E91}" type="slidenum">
              <a:rPr lang="es-ES" smtClean="0"/>
              <a:pPr>
                <a:defRPr/>
              </a:pPr>
              <a:t>22</a:t>
            </a:fld>
            <a:endParaRPr lang="es-ES" dirty="0"/>
          </a:p>
        </p:txBody>
      </p:sp>
    </p:spTree>
    <p:extLst>
      <p:ext uri="{BB962C8B-B14F-4D97-AF65-F5344CB8AC3E}">
        <p14:creationId xmlns="" xmlns:p14="http://schemas.microsoft.com/office/powerpoint/2010/main" val="8766776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BF81F2F-DDA8-4DE7-A0EA-FADB6AAF1065}" type="slidenum">
              <a:rPr lang="en-US" smtClean="0"/>
              <a:pPr>
                <a:defRPr/>
              </a:pPr>
              <a:t>37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47512349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717032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dirty="0" smtClean="0"/>
              <a:t>Haga clic para modificar el estilo de subtítulo del patrón</a:t>
            </a:r>
            <a:endParaRPr lang="es-ES" dirty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037B38-5C7B-4DF3-B92D-DD4D53E3E5CE}" type="datetime1">
              <a:rPr lang="es-ES"/>
              <a:pPr>
                <a:defRPr/>
              </a:pPr>
              <a:t>14/03/2014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768318-59B8-4D6C-985B-929252C03A80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  <p:extLst>
      <p:ext uri="{BB962C8B-B14F-4D97-AF65-F5344CB8AC3E}">
        <p14:creationId xmlns="" xmlns:p14="http://schemas.microsoft.com/office/powerpoint/2010/main" val="311186581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1205880"/>
            <a:ext cx="8229600" cy="1143000"/>
          </a:xfrm>
        </p:spPr>
        <p:txBody>
          <a:bodyPr/>
          <a:lstStyle/>
          <a:p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492896"/>
            <a:ext cx="8229600" cy="3633267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7296E7-483E-4E82-8283-F3ED40C876AF}" type="datetime1">
              <a:rPr lang="es-ES"/>
              <a:pPr>
                <a:defRPr/>
              </a:pPr>
              <a:t>14/03/2014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479BAA-5A5A-4EAE-BAC8-A67EE37DB192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  <p:extLst>
      <p:ext uri="{BB962C8B-B14F-4D97-AF65-F5344CB8AC3E}">
        <p14:creationId xmlns="" xmlns:p14="http://schemas.microsoft.com/office/powerpoint/2010/main" val="25787884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1EDF30-3281-4A75-A4EF-849DB963878C}" type="datetime1">
              <a:rPr lang="es-ES"/>
              <a:pPr>
                <a:defRPr/>
              </a:pPr>
              <a:t>14/03/2014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778FBC-C06E-478B-B49F-1D89D916313F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  <p:extLst>
      <p:ext uri="{BB962C8B-B14F-4D97-AF65-F5344CB8AC3E}">
        <p14:creationId xmlns="" xmlns:p14="http://schemas.microsoft.com/office/powerpoint/2010/main" val="25780690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7 Imagen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7475" y="0"/>
            <a:ext cx="9442450" cy="690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none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10/12/2012</a:t>
            </a:r>
            <a:endParaRPr lang="en-US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s-CO"/>
              <a:t>Pie de pagina</a:t>
            </a:r>
            <a:endParaRPr lang="en-US" dirty="0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US"/>
              <a:t>N°</a:t>
            </a:r>
          </a:p>
        </p:txBody>
      </p:sp>
    </p:spTree>
    <p:extLst>
      <p:ext uri="{BB962C8B-B14F-4D97-AF65-F5344CB8AC3E}">
        <p14:creationId xmlns="" xmlns:p14="http://schemas.microsoft.com/office/powerpoint/2010/main" val="34186714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CO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C40CA9-9FE5-427A-A7EF-EB0F7C11076E}" type="datetimeFigureOut">
              <a:rPr lang="es-CO"/>
              <a:pPr>
                <a:defRPr/>
              </a:pPr>
              <a:t>14/03/2014</a:t>
            </a:fld>
            <a:endParaRPr lang="es-CO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83F3D95-69A8-4F81-9FDA-71AA508458E2}" type="slidenum">
              <a:rPr lang="es-CO"/>
              <a:pPr>
                <a:defRPr/>
              </a:pPr>
              <a:t>‹Nº›</a:t>
            </a:fld>
            <a:endParaRPr lang="es-CO"/>
          </a:p>
        </p:txBody>
      </p:sp>
    </p:spTree>
    <p:extLst>
      <p:ext uri="{BB962C8B-B14F-4D97-AF65-F5344CB8AC3E}">
        <p14:creationId xmlns="" xmlns:p14="http://schemas.microsoft.com/office/powerpoint/2010/main" val="326573170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C40CA9-9FE5-427A-A7EF-EB0F7C11076E}" type="datetimeFigureOut">
              <a:rPr lang="es-CO"/>
              <a:pPr>
                <a:defRPr/>
              </a:pPr>
              <a:t>14/03/2014</a:t>
            </a:fld>
            <a:endParaRPr lang="es-CO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39920B-1244-4D74-80F7-CA5F9B5F1729}" type="slidenum">
              <a:rPr lang="es-CO"/>
              <a:pPr>
                <a:defRPr/>
              </a:pPr>
              <a:t>‹Nº›</a:t>
            </a:fld>
            <a:endParaRPr lang="es-CO"/>
          </a:p>
        </p:txBody>
      </p:sp>
    </p:spTree>
    <p:extLst>
      <p:ext uri="{BB962C8B-B14F-4D97-AF65-F5344CB8AC3E}">
        <p14:creationId xmlns="" xmlns:p14="http://schemas.microsoft.com/office/powerpoint/2010/main" val="8719276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C40CA9-9FE5-427A-A7EF-EB0F7C11076E}" type="datetimeFigureOut">
              <a:rPr lang="es-CO"/>
              <a:pPr>
                <a:defRPr/>
              </a:pPr>
              <a:t>14/03/2014</a:t>
            </a:fld>
            <a:endParaRPr lang="es-CO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469451-9873-477D-941A-82E135529C66}" type="slidenum">
              <a:rPr lang="es-CO"/>
              <a:pPr>
                <a:defRPr/>
              </a:pPr>
              <a:t>‹Nº›</a:t>
            </a:fld>
            <a:endParaRPr lang="es-CO"/>
          </a:p>
        </p:txBody>
      </p:sp>
    </p:spTree>
    <p:extLst>
      <p:ext uri="{BB962C8B-B14F-4D97-AF65-F5344CB8AC3E}">
        <p14:creationId xmlns="" xmlns:p14="http://schemas.microsoft.com/office/powerpoint/2010/main" val="71599684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C40CA9-9FE5-427A-A7EF-EB0F7C11076E}" type="datetimeFigureOut">
              <a:rPr lang="es-CO"/>
              <a:pPr>
                <a:defRPr/>
              </a:pPr>
              <a:t>14/03/2014</a:t>
            </a:fld>
            <a:endParaRPr lang="es-CO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9CFDB5-78FE-4D1A-8521-BA8C924EDF87}" type="slidenum">
              <a:rPr lang="es-CO"/>
              <a:pPr>
                <a:defRPr/>
              </a:pPr>
              <a:t>‹Nº›</a:t>
            </a:fld>
            <a:endParaRPr lang="es-CO"/>
          </a:p>
        </p:txBody>
      </p:sp>
    </p:spTree>
    <p:extLst>
      <p:ext uri="{BB962C8B-B14F-4D97-AF65-F5344CB8AC3E}">
        <p14:creationId xmlns="" xmlns:p14="http://schemas.microsoft.com/office/powerpoint/2010/main" val="62253175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7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C40CA9-9FE5-427A-A7EF-EB0F7C11076E}" type="datetimeFigureOut">
              <a:rPr lang="es-CO"/>
              <a:pPr>
                <a:defRPr/>
              </a:pPr>
              <a:t>14/03/2014</a:t>
            </a:fld>
            <a:endParaRPr lang="es-CO"/>
          </a:p>
        </p:txBody>
      </p:sp>
      <p:sp>
        <p:nvSpPr>
          <p:cNvPr id="8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9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2E2B54-5E6C-438B-891F-FD12A5DBBD60}" type="slidenum">
              <a:rPr lang="es-CO"/>
              <a:pPr>
                <a:defRPr/>
              </a:pPr>
              <a:t>‹Nº›</a:t>
            </a:fld>
            <a:endParaRPr lang="es-CO"/>
          </a:p>
        </p:txBody>
      </p:sp>
    </p:spTree>
    <p:extLst>
      <p:ext uri="{BB962C8B-B14F-4D97-AF65-F5344CB8AC3E}">
        <p14:creationId xmlns="" xmlns:p14="http://schemas.microsoft.com/office/powerpoint/2010/main" val="15417476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C40CA9-9FE5-427A-A7EF-EB0F7C11076E}" type="datetimeFigureOut">
              <a:rPr lang="es-CO"/>
              <a:pPr>
                <a:defRPr/>
              </a:pPr>
              <a:t>14/03/2014</a:t>
            </a:fld>
            <a:endParaRPr lang="es-CO"/>
          </a:p>
        </p:txBody>
      </p:sp>
      <p:sp>
        <p:nvSpPr>
          <p:cNvPr id="4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5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149C6D-8DF2-4E65-AA79-3AC79751C81E}" type="slidenum">
              <a:rPr lang="es-CO"/>
              <a:pPr>
                <a:defRPr/>
              </a:pPr>
              <a:t>‹Nº›</a:t>
            </a:fld>
            <a:endParaRPr lang="es-CO"/>
          </a:p>
        </p:txBody>
      </p:sp>
    </p:spTree>
    <p:extLst>
      <p:ext uri="{BB962C8B-B14F-4D97-AF65-F5344CB8AC3E}">
        <p14:creationId xmlns="" xmlns:p14="http://schemas.microsoft.com/office/powerpoint/2010/main" val="121944082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C40CA9-9FE5-427A-A7EF-EB0F7C11076E}" type="datetimeFigureOut">
              <a:rPr lang="es-CO"/>
              <a:pPr>
                <a:defRPr/>
              </a:pPr>
              <a:t>14/03/2014</a:t>
            </a:fld>
            <a:endParaRPr lang="es-CO"/>
          </a:p>
        </p:txBody>
      </p:sp>
      <p:sp>
        <p:nvSpPr>
          <p:cNvPr id="3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4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3B7841-5A01-44B1-B613-31C263B266E8}" type="slidenum">
              <a:rPr lang="es-CO"/>
              <a:pPr>
                <a:defRPr/>
              </a:pPr>
              <a:t>‹Nº›</a:t>
            </a:fld>
            <a:endParaRPr lang="es-CO"/>
          </a:p>
        </p:txBody>
      </p:sp>
    </p:spTree>
    <p:extLst>
      <p:ext uri="{BB962C8B-B14F-4D97-AF65-F5344CB8AC3E}">
        <p14:creationId xmlns="" xmlns:p14="http://schemas.microsoft.com/office/powerpoint/2010/main" val="6137706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B1A7E79-E854-46FF-9E10-BFBC4BD06901}" type="datetime1">
              <a:rPr lang="es-ES"/>
              <a:pPr>
                <a:defRPr/>
              </a:pPr>
              <a:t>14/03/2014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8414B0-AC86-494B-BC3B-EA5568D67503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  <p:extLst>
      <p:ext uri="{BB962C8B-B14F-4D97-AF65-F5344CB8AC3E}">
        <p14:creationId xmlns="" xmlns:p14="http://schemas.microsoft.com/office/powerpoint/2010/main" val="250403192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C40CA9-9FE5-427A-A7EF-EB0F7C11076E}" type="datetimeFigureOut">
              <a:rPr lang="es-CO"/>
              <a:pPr>
                <a:defRPr/>
              </a:pPr>
              <a:t>14/03/2014</a:t>
            </a:fld>
            <a:endParaRPr lang="es-CO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66BA94-6D1E-4A40-B2C2-BFFB19D8B6EC}" type="slidenum">
              <a:rPr lang="es-CO"/>
              <a:pPr>
                <a:defRPr/>
              </a:pPr>
              <a:t>‹Nº›</a:t>
            </a:fld>
            <a:endParaRPr lang="es-CO"/>
          </a:p>
        </p:txBody>
      </p:sp>
    </p:spTree>
    <p:extLst>
      <p:ext uri="{BB962C8B-B14F-4D97-AF65-F5344CB8AC3E}">
        <p14:creationId xmlns="" xmlns:p14="http://schemas.microsoft.com/office/powerpoint/2010/main" val="274731085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s-CO" noProof="0" smtClean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C40CA9-9FE5-427A-A7EF-EB0F7C11076E}" type="datetimeFigureOut">
              <a:rPr lang="es-CO"/>
              <a:pPr>
                <a:defRPr/>
              </a:pPr>
              <a:t>14/03/2014</a:t>
            </a:fld>
            <a:endParaRPr lang="es-CO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8DED79-C5AC-4815-B62C-54CB17F54A5F}" type="slidenum">
              <a:rPr lang="es-CO"/>
              <a:pPr>
                <a:defRPr/>
              </a:pPr>
              <a:t>‹Nº›</a:t>
            </a:fld>
            <a:endParaRPr lang="es-CO"/>
          </a:p>
        </p:txBody>
      </p:sp>
    </p:spTree>
    <p:extLst>
      <p:ext uri="{BB962C8B-B14F-4D97-AF65-F5344CB8AC3E}">
        <p14:creationId xmlns="" xmlns:p14="http://schemas.microsoft.com/office/powerpoint/2010/main" val="355945622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C40CA9-9FE5-427A-A7EF-EB0F7C11076E}" type="datetimeFigureOut">
              <a:rPr lang="es-CO"/>
              <a:pPr>
                <a:defRPr/>
              </a:pPr>
              <a:t>14/03/2014</a:t>
            </a:fld>
            <a:endParaRPr lang="es-CO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0E082C1-D230-4F40-9769-55B0B17E8C1F}" type="slidenum">
              <a:rPr lang="es-CO"/>
              <a:pPr>
                <a:defRPr/>
              </a:pPr>
              <a:t>‹Nº›</a:t>
            </a:fld>
            <a:endParaRPr lang="es-CO"/>
          </a:p>
        </p:txBody>
      </p:sp>
    </p:spTree>
    <p:extLst>
      <p:ext uri="{BB962C8B-B14F-4D97-AF65-F5344CB8AC3E}">
        <p14:creationId xmlns="" xmlns:p14="http://schemas.microsoft.com/office/powerpoint/2010/main" val="35657768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C40CA9-9FE5-427A-A7EF-EB0F7C11076E}" type="datetimeFigureOut">
              <a:rPr lang="es-CO"/>
              <a:pPr>
                <a:defRPr/>
              </a:pPr>
              <a:t>14/03/2014</a:t>
            </a:fld>
            <a:endParaRPr lang="es-CO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29ABC3-1BFF-49B3-96B9-F2C25A959E48}" type="slidenum">
              <a:rPr lang="es-CO"/>
              <a:pPr>
                <a:defRPr/>
              </a:pPr>
              <a:t>‹Nº›</a:t>
            </a:fld>
            <a:endParaRPr lang="es-CO"/>
          </a:p>
        </p:txBody>
      </p:sp>
    </p:spTree>
    <p:extLst>
      <p:ext uri="{BB962C8B-B14F-4D97-AF65-F5344CB8AC3E}">
        <p14:creationId xmlns="" xmlns:p14="http://schemas.microsoft.com/office/powerpoint/2010/main" val="182766096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C40CA9-9FE5-427A-A7EF-EB0F7C11076E}" type="datetimeFigureOut">
              <a:rPr lang="es-CO"/>
              <a:pPr>
                <a:defRPr/>
              </a:pPr>
              <a:t>14/03/2014</a:t>
            </a:fld>
            <a:endParaRPr lang="es-CO"/>
          </a:p>
        </p:txBody>
      </p:sp>
      <p:sp>
        <p:nvSpPr>
          <p:cNvPr id="4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5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17B199-25DF-4F98-9E3A-0AD6B0DD5A5D}" type="slidenum">
              <a:rPr lang="es-CO"/>
              <a:pPr>
                <a:defRPr/>
              </a:pPr>
              <a:t>‹Nº›</a:t>
            </a:fld>
            <a:endParaRPr lang="es-CO"/>
          </a:p>
        </p:txBody>
      </p:sp>
    </p:spTree>
    <p:extLst>
      <p:ext uri="{BB962C8B-B14F-4D97-AF65-F5344CB8AC3E}">
        <p14:creationId xmlns="" xmlns:p14="http://schemas.microsoft.com/office/powerpoint/2010/main" val="49646215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7 Imagen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7475" y="0"/>
            <a:ext cx="9442450" cy="690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none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A563C2B2-5A04-4DA9-9FD6-0E092CA0289A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36516947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1428744"/>
            <a:ext cx="8229600" cy="1143000"/>
          </a:xfrm>
        </p:spPr>
        <p:txBody>
          <a:bodyPr/>
          <a:lstStyle>
            <a:lvl1pPr>
              <a:defRPr sz="4000">
                <a:solidFill>
                  <a:srgbClr val="8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2714620"/>
            <a:ext cx="8229600" cy="3411543"/>
          </a:xfr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1E4E0C5-2CA4-4137-B1CF-2092D4F0DE12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07102453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none">
                <a:solidFill>
                  <a:srgbClr val="8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DEAE3A-F550-477D-9182-B1D2FEDB2F41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43484469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85720" y="4800600"/>
            <a:ext cx="8572560" cy="566738"/>
          </a:xfrm>
        </p:spPr>
        <p:txBody>
          <a:bodyPr anchor="b"/>
          <a:lstStyle>
            <a:lvl1pPr algn="ctr">
              <a:defRPr sz="2400" b="1">
                <a:solidFill>
                  <a:srgbClr val="8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285720" y="1428735"/>
            <a:ext cx="8572560" cy="3298839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s-ES" noProof="0" smtClean="0"/>
              <a:t>Haga clic en el icono para agregar una imagen</a:t>
            </a:r>
            <a:endParaRPr lang="en-US" noProof="0" dirty="0" smtClean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285720" y="5367338"/>
            <a:ext cx="8572560" cy="490554"/>
          </a:xfrm>
        </p:spPr>
        <p:txBody>
          <a:bodyPr/>
          <a:lstStyle>
            <a:lvl1pPr marL="0" indent="0" algn="ctr">
              <a:buNone/>
              <a:defRPr sz="2000" u="none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7221D5-99F3-4109-AB7C-A029BD1490A2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02187937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a de cierr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7 Imagen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8263" y="-82550"/>
            <a:ext cx="9393238" cy="6940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3950956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3651101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1844824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2FE438-6435-464C-A407-68CAFD1D47E0}" type="datetime1">
              <a:rPr lang="es-ES"/>
              <a:pPr>
                <a:defRPr/>
              </a:pPr>
              <a:t>14/03/2014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F1ADB4-0025-4577-9285-868B50B03FCF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  <p:extLst>
      <p:ext uri="{BB962C8B-B14F-4D97-AF65-F5344CB8AC3E}">
        <p14:creationId xmlns="" xmlns:p14="http://schemas.microsoft.com/office/powerpoint/2010/main" val="19755749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6 Imagen" descr="interior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175"/>
            <a:ext cx="9144000" cy="6851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475456" y="3573016"/>
            <a:ext cx="5320680" cy="648072"/>
          </a:xfrm>
        </p:spPr>
        <p:txBody>
          <a:bodyPr/>
          <a:lstStyle>
            <a:lvl1pPr marL="0" indent="0" algn="l">
              <a:buNone/>
              <a:defRPr sz="2800" b="0">
                <a:latin typeface="+mj-lt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s-ES" smtClean="0"/>
              <a:t>Haga clic para modificar el estilo de subtítulo del patrón</a:t>
            </a:r>
            <a:endParaRPr lang="es-ES" dirty="0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6" name="Rectangle 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7" name="Rectangle 9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F0C762-79A6-410C-ACD0-A5C080003C61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51264138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C1C079-7A3C-4ECB-9776-B46D3135B918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39368454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371600" y="3717032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dirty="0" smtClean="0"/>
              <a:t>Haga clic para modificar el estilo de subtítulo del patrón</a:t>
            </a:r>
            <a:endParaRPr lang="es-ES" dirty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037B38-5C7B-4DF3-B92D-DD4D53E3E5CE}" type="datetime1">
              <a:rPr lang="es-ES"/>
              <a:pPr>
                <a:defRPr/>
              </a:pPr>
              <a:t>14/03/2014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768318-59B8-4D6C-985B-929252C03A80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  <p:extLst>
      <p:ext uri="{BB962C8B-B14F-4D97-AF65-F5344CB8AC3E}">
        <p14:creationId xmlns="" xmlns:p14="http://schemas.microsoft.com/office/powerpoint/2010/main" val="109476203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7 Imagen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7475" y="0"/>
            <a:ext cx="9442450" cy="690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none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381367FA-5C02-4A81-A7C3-125C8C8054B2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411074545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1428744"/>
            <a:ext cx="8229600" cy="1143000"/>
          </a:xfrm>
        </p:spPr>
        <p:txBody>
          <a:bodyPr/>
          <a:lstStyle>
            <a:lvl1pPr>
              <a:defRPr sz="4000">
                <a:solidFill>
                  <a:srgbClr val="8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2714620"/>
            <a:ext cx="8229600" cy="3411543"/>
          </a:xfr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dirty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3991EC-34F1-4537-A692-3FE799178FED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56871557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none">
                <a:solidFill>
                  <a:srgbClr val="8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3FDE03-6CF3-470F-B9C1-94EE54530F7C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4003497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85720" y="4800600"/>
            <a:ext cx="8572560" cy="566738"/>
          </a:xfrm>
        </p:spPr>
        <p:txBody>
          <a:bodyPr anchor="b"/>
          <a:lstStyle>
            <a:lvl1pPr algn="ctr">
              <a:defRPr sz="2400" b="1">
                <a:solidFill>
                  <a:srgbClr val="8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285720" y="1428735"/>
            <a:ext cx="8572560" cy="3298839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s-ES" noProof="0" smtClean="0"/>
              <a:t>Haga clic en el icono para agregar una imagen</a:t>
            </a:r>
            <a:endParaRPr lang="en-US" noProof="0" dirty="0" smtClean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285720" y="5367338"/>
            <a:ext cx="8572560" cy="490554"/>
          </a:xfrm>
        </p:spPr>
        <p:txBody>
          <a:bodyPr/>
          <a:lstStyle>
            <a:lvl1pPr marL="0" indent="0" algn="ctr">
              <a:buNone/>
              <a:defRPr sz="2000" u="none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CAC59B7-E73F-4453-AD5E-FE854D12DA5D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26202456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a de cierr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7 Imagen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8263" y="-82550"/>
            <a:ext cx="9393238" cy="6940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298060087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7 Imagen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7475" y="0"/>
            <a:ext cx="9442450" cy="690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none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>
                <a:solidFill>
                  <a:prstClr val="white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/>
              <a:t>10/12/2012</a:t>
            </a:r>
            <a:endParaRPr lang="en-US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s-CO"/>
              <a:t>Pie de pagina</a:t>
            </a:r>
            <a:endParaRPr lang="en-US" dirty="0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en-US"/>
              <a:t>N°</a:t>
            </a:r>
          </a:p>
        </p:txBody>
      </p:sp>
    </p:spTree>
    <p:extLst>
      <p:ext uri="{BB962C8B-B14F-4D97-AF65-F5344CB8AC3E}">
        <p14:creationId xmlns="" xmlns:p14="http://schemas.microsoft.com/office/powerpoint/2010/main" val="314389465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1428744"/>
            <a:ext cx="8229600" cy="1143000"/>
          </a:xfrm>
        </p:spPr>
        <p:txBody>
          <a:bodyPr/>
          <a:lstStyle>
            <a:lvl1pPr>
              <a:defRPr sz="4000">
                <a:solidFill>
                  <a:srgbClr val="8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2714620"/>
            <a:ext cx="8229600" cy="3411543"/>
          </a:xfr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EF2451-BE67-44BF-A593-585F2612A796}" type="datetimeFigureOut">
              <a:rPr lang="en-US"/>
              <a:pPr>
                <a:defRPr/>
              </a:pPr>
              <a:t>3/14/2014</a:t>
            </a:fld>
            <a:endParaRPr lang="en-U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848842-931E-490B-87BD-9C0E3E5AB9DF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6114193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A47FDC-417C-419D-B93F-4E2F4132CFD5}" type="datetime1">
              <a:rPr lang="es-ES"/>
              <a:pPr>
                <a:defRPr/>
              </a:pPr>
              <a:t>14/03/2014</a:t>
            </a:fld>
            <a:endParaRPr lang="es-ES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0CDE23-82DD-48BF-B5D1-76B086A5542B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  <p:extLst>
      <p:ext uri="{BB962C8B-B14F-4D97-AF65-F5344CB8AC3E}">
        <p14:creationId xmlns="" xmlns:p14="http://schemas.microsoft.com/office/powerpoint/2010/main" val="398465620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none">
                <a:solidFill>
                  <a:srgbClr val="8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EF2451-BE67-44BF-A593-585F2612A796}" type="datetimeFigureOut">
              <a:rPr lang="en-US"/>
              <a:pPr>
                <a:defRPr/>
              </a:pPr>
              <a:t>3/14/2014</a:t>
            </a:fld>
            <a:endParaRPr lang="en-U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D9D2E0-B5A4-406C-8F66-C7EDEEDF2D4D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70791353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85720" y="4800600"/>
            <a:ext cx="8572560" cy="566738"/>
          </a:xfrm>
        </p:spPr>
        <p:txBody>
          <a:bodyPr anchor="b"/>
          <a:lstStyle>
            <a:lvl1pPr algn="ctr">
              <a:defRPr sz="2400" b="1">
                <a:solidFill>
                  <a:srgbClr val="8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285720" y="1428735"/>
            <a:ext cx="8572560" cy="3298839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285720" y="5367338"/>
            <a:ext cx="8572560" cy="490554"/>
          </a:xfrm>
        </p:spPr>
        <p:txBody>
          <a:bodyPr/>
          <a:lstStyle>
            <a:lvl1pPr marL="0" indent="0" algn="ctr">
              <a:buNone/>
              <a:defRPr sz="2000" u="none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6EF2451-BE67-44BF-A593-585F2612A796}" type="datetimeFigureOut">
              <a:rPr lang="en-US"/>
              <a:pPr>
                <a:defRPr/>
              </a:pPr>
              <a:t>3/14/2014</a:t>
            </a:fld>
            <a:endParaRPr lang="en-US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D794BF-F61A-4DD4-B8D2-D5435014931B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94992737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cierr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7 Imagen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8263" y="-82550"/>
            <a:ext cx="9393238" cy="6940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237148309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7 Imagen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7475" y="0"/>
            <a:ext cx="9442450" cy="6904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none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smtClean="0"/>
              <a:t>Haga clic para modificar el estilo de título del patrón</a:t>
            </a:r>
            <a:endParaRPr lang="en-US" dirty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>
              <a:defRPr>
                <a:solidFill>
                  <a:prstClr val="white"/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r>
              <a:rPr lang="en-US"/>
              <a:t>10/12/2012</a:t>
            </a:r>
            <a:endParaRPr lang="en-US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prstClr val="white"/>
                </a:solidFill>
              </a:defRPr>
            </a:lvl1pPr>
          </a:lstStyle>
          <a:p>
            <a:pPr>
              <a:defRPr/>
            </a:pPr>
            <a:r>
              <a:rPr lang="es-CO"/>
              <a:t>Pie de pagina</a:t>
            </a:r>
            <a:endParaRPr lang="en-US" dirty="0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en-US"/>
              <a:t>N°</a:t>
            </a:r>
          </a:p>
        </p:txBody>
      </p:sp>
    </p:spTree>
    <p:extLst>
      <p:ext uri="{BB962C8B-B14F-4D97-AF65-F5344CB8AC3E}">
        <p14:creationId xmlns="" xmlns:p14="http://schemas.microsoft.com/office/powerpoint/2010/main" val="289928668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1428744"/>
            <a:ext cx="8229600" cy="1143000"/>
          </a:xfrm>
        </p:spPr>
        <p:txBody>
          <a:bodyPr/>
          <a:lstStyle>
            <a:lvl1pPr>
              <a:defRPr sz="4000">
                <a:solidFill>
                  <a:srgbClr val="8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2714620"/>
            <a:ext cx="8229600" cy="3411543"/>
          </a:xfrm>
        </p:spPr>
        <p:txBody>
          <a:bodyPr/>
          <a:lstStyle>
            <a:lvl1pPr>
              <a:defRPr>
                <a:latin typeface="Arial" pitchFamily="34" charset="0"/>
                <a:cs typeface="Arial" pitchFamily="34" charset="0"/>
              </a:defRPr>
            </a:lvl1pPr>
            <a:lvl2pPr>
              <a:defRPr>
                <a:latin typeface="Arial" pitchFamily="34" charset="0"/>
                <a:cs typeface="Arial" pitchFamily="34" charset="0"/>
              </a:defRPr>
            </a:lvl2pPr>
            <a:lvl3pPr>
              <a:defRPr>
                <a:latin typeface="Arial" pitchFamily="34" charset="0"/>
                <a:cs typeface="Arial" pitchFamily="34" charset="0"/>
              </a:defRPr>
            </a:lvl3pPr>
            <a:lvl4pPr>
              <a:defRPr>
                <a:latin typeface="Arial" pitchFamily="34" charset="0"/>
                <a:cs typeface="Arial" pitchFamily="34" charset="0"/>
              </a:defRPr>
            </a:lvl4pPr>
            <a:lvl5pPr>
              <a:defRPr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n-US" dirty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C1066D-97C6-4604-A5EA-85066ABCFB92}" type="datetimeFigureOut">
              <a:rPr lang="en-US"/>
              <a:pPr>
                <a:defRPr/>
              </a:pPr>
              <a:t>3/14/2014</a:t>
            </a:fld>
            <a:endParaRPr lang="en-U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559504-90B4-4E2E-A42B-350FFD76F710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99217009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none">
                <a:solidFill>
                  <a:srgbClr val="8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C1066D-97C6-4604-A5EA-85066ABCFB92}" type="datetimeFigureOut">
              <a:rPr lang="en-US"/>
              <a:pPr>
                <a:defRPr/>
              </a:pPr>
              <a:t>3/14/2014</a:t>
            </a:fld>
            <a:endParaRPr lang="en-U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CB7AB1-E9B4-44E8-8598-136C68AD2FD9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09636164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85720" y="4800600"/>
            <a:ext cx="8572560" cy="566738"/>
          </a:xfrm>
        </p:spPr>
        <p:txBody>
          <a:bodyPr anchor="b"/>
          <a:lstStyle>
            <a:lvl1pPr algn="ctr">
              <a:defRPr sz="2400" b="1">
                <a:solidFill>
                  <a:srgbClr val="8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dirty="0" smtClean="0"/>
              <a:t>Haga clic para modificar el estilo de título del patrón</a:t>
            </a:r>
            <a:endParaRPr lang="en-US" dirty="0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285720" y="1428735"/>
            <a:ext cx="8572560" cy="3298839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 smtClean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285720" y="5367338"/>
            <a:ext cx="8572560" cy="490554"/>
          </a:xfrm>
        </p:spPr>
        <p:txBody>
          <a:bodyPr/>
          <a:lstStyle>
            <a:lvl1pPr marL="0" indent="0" algn="ctr">
              <a:buNone/>
              <a:defRPr sz="2000" u="none"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C1066D-97C6-4604-A5EA-85066ABCFB92}" type="datetimeFigureOut">
              <a:rPr lang="en-US"/>
              <a:pPr>
                <a:defRPr/>
              </a:pPr>
              <a:t>3/14/2014</a:t>
            </a:fld>
            <a:endParaRPr lang="en-US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670FEC-F81B-40B4-9B3D-D58766FE6B52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42560743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cierr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7 Imagen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8263" y="-82550"/>
            <a:ext cx="9393238" cy="6940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733727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989856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457200" y="2204864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dirty="0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457200" y="2996951"/>
            <a:ext cx="4040188" cy="312921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4645025" y="2204864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4645025" y="2996951"/>
            <a:ext cx="4041775" cy="312921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ES" dirty="0"/>
          </a:p>
        </p:txBody>
      </p:sp>
      <p:sp>
        <p:nvSpPr>
          <p:cNvPr id="7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59F5E4-250B-4822-99FD-A680DDD39902}" type="datetime1">
              <a:rPr lang="es-ES"/>
              <a:pPr>
                <a:defRPr/>
              </a:pPr>
              <a:t>14/03/2014</a:t>
            </a:fld>
            <a:endParaRPr lang="es-ES"/>
          </a:p>
        </p:txBody>
      </p:sp>
      <p:sp>
        <p:nvSpPr>
          <p:cNvPr id="8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9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30B354A-B461-4661-B79E-0E3B0C3D5AD3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  <p:extLst>
      <p:ext uri="{BB962C8B-B14F-4D97-AF65-F5344CB8AC3E}">
        <p14:creationId xmlns="" xmlns:p14="http://schemas.microsoft.com/office/powerpoint/2010/main" val="33234351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1277888"/>
            <a:ext cx="8229600" cy="1143000"/>
          </a:xfrm>
        </p:spPr>
        <p:txBody>
          <a:bodyPr/>
          <a:lstStyle/>
          <a:p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  <p:sp>
        <p:nvSpPr>
          <p:cNvPr id="3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36F824-CB79-4E1D-A3D6-54E47DA57A23}" type="datetime1">
              <a:rPr lang="es-ES"/>
              <a:pPr>
                <a:defRPr/>
              </a:pPr>
              <a:t>14/03/2014</a:t>
            </a:fld>
            <a:endParaRPr lang="es-ES"/>
          </a:p>
        </p:txBody>
      </p:sp>
      <p:sp>
        <p:nvSpPr>
          <p:cNvPr id="4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5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1F35FF-49CB-44DA-9939-D22518A426CA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  <p:extLst>
      <p:ext uri="{BB962C8B-B14F-4D97-AF65-F5344CB8AC3E}">
        <p14:creationId xmlns="" xmlns:p14="http://schemas.microsoft.com/office/powerpoint/2010/main" val="40105042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C57B73-7DD1-4916-85FB-A1AE7A378F5E}" type="datetime1">
              <a:rPr lang="es-ES"/>
              <a:pPr>
                <a:defRPr/>
              </a:pPr>
              <a:t>14/03/2014</a:t>
            </a:fld>
            <a:endParaRPr lang="es-ES"/>
          </a:p>
        </p:txBody>
      </p:sp>
      <p:sp>
        <p:nvSpPr>
          <p:cNvPr id="3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4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5A7B67-A751-42F0-A70C-6C26A23AD332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  <p:extLst>
      <p:ext uri="{BB962C8B-B14F-4D97-AF65-F5344CB8AC3E}">
        <p14:creationId xmlns="" xmlns:p14="http://schemas.microsoft.com/office/powerpoint/2010/main" val="4556202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57200" y="1114822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3575050" y="1124744"/>
            <a:ext cx="5111750" cy="5001419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457200" y="2348880"/>
            <a:ext cx="3008313" cy="377728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EF0988-E33A-4216-A8D6-512924AAB227}" type="datetime1">
              <a:rPr lang="es-ES"/>
              <a:pPr>
                <a:defRPr/>
              </a:pPr>
              <a:t>14/03/2014</a:t>
            </a:fld>
            <a:endParaRPr lang="es-ES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ECACD1-719C-4FE4-AE5C-866404858CBA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  <p:extLst>
      <p:ext uri="{BB962C8B-B14F-4D97-AF65-F5344CB8AC3E}">
        <p14:creationId xmlns="" xmlns:p14="http://schemas.microsoft.com/office/powerpoint/2010/main" val="101088617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1792288" y="1268759"/>
            <a:ext cx="5486400" cy="345881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s-ES" noProof="0" smtClean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B9EFA4-601B-4207-9C2D-23B0C0795E87}" type="datetime1">
              <a:rPr lang="es-ES"/>
              <a:pPr>
                <a:defRPr/>
              </a:pPr>
              <a:t>14/03/2014</a:t>
            </a:fld>
            <a:endParaRPr lang="es-ES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F08CF9-2390-4802-8CF6-58B7C19F7191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  <p:extLst>
      <p:ext uri="{BB962C8B-B14F-4D97-AF65-F5344CB8AC3E}">
        <p14:creationId xmlns="" xmlns:p14="http://schemas.microsoft.com/office/powerpoint/2010/main" val="29551950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9.xml"/><Relationship Id="rId10" Type="http://schemas.openxmlformats.org/officeDocument/2006/relationships/image" Target="../media/image3.jpeg"/><Relationship Id="rId4" Type="http://schemas.openxmlformats.org/officeDocument/2006/relationships/slideLayout" Target="../slideLayouts/slideLayout28.xml"/><Relationship Id="rId9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7" Type="http://schemas.openxmlformats.org/officeDocument/2006/relationships/image" Target="../media/image3.jpeg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6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7" Type="http://schemas.openxmlformats.org/officeDocument/2006/relationships/image" Target="../media/image3.jpeg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42.xml"/><Relationship Id="rId4" Type="http://schemas.openxmlformats.org/officeDocument/2006/relationships/slideLayout" Target="../slideLayouts/slideLayout41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5.xml"/><Relationship Id="rId7" Type="http://schemas.openxmlformats.org/officeDocument/2006/relationships/image" Target="../media/image3.jpeg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theme" Target="../theme/theme6.xml"/><Relationship Id="rId5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1 Marcador de título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Click to edit Master title style</a:t>
            </a:r>
          </a:p>
        </p:txBody>
      </p:sp>
      <p:sp>
        <p:nvSpPr>
          <p:cNvPr id="1027" name="2 Marcador de texto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Click to edit Master text styles</a:t>
            </a:r>
          </a:p>
          <a:p>
            <a:pPr lvl="1"/>
            <a:r>
              <a:rPr lang="es-ES" smtClean="0"/>
              <a:t>Second level</a:t>
            </a:r>
          </a:p>
          <a:p>
            <a:pPr lvl="2"/>
            <a:r>
              <a:rPr lang="es-ES" smtClean="0"/>
              <a:t>Third level</a:t>
            </a:r>
          </a:p>
          <a:p>
            <a:pPr lvl="3"/>
            <a:r>
              <a:rPr lang="es-ES" smtClean="0"/>
              <a:t>Fourth level</a:t>
            </a:r>
          </a:p>
          <a:p>
            <a:pPr lvl="4"/>
            <a:r>
              <a:rPr lang="es-ES" smtClean="0"/>
              <a:t>Fifth level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ea typeface="ＭＳ Ｐゴシック" pitchFamily="34" charset="-128"/>
              </a:defRPr>
            </a:lvl1pPr>
          </a:lstStyle>
          <a:p>
            <a:pPr>
              <a:defRPr/>
            </a:pPr>
            <a:fld id="{E149B4D1-5F11-4916-88E9-D2D0D2ED9645}" type="datetime1">
              <a:rPr lang="es-ES"/>
              <a:pPr>
                <a:defRPr/>
              </a:pPr>
              <a:t>14/03/2014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>
              <a:defRPr sz="1200">
                <a:solidFill>
                  <a:srgbClr val="898989"/>
                </a:solidFill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ea typeface="ＭＳ Ｐゴシック" pitchFamily="34" charset="-128"/>
              </a:defRPr>
            </a:lvl1pPr>
          </a:lstStyle>
          <a:p>
            <a:pPr>
              <a:defRPr/>
            </a:pPr>
            <a:fld id="{22608052-423C-46D9-BF0C-62D736CC735F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182" r:id="rId1"/>
    <p:sldLayoutId id="2147485183" r:id="rId2"/>
    <p:sldLayoutId id="2147485184" r:id="rId3"/>
    <p:sldLayoutId id="2147485185" r:id="rId4"/>
    <p:sldLayoutId id="2147485186" r:id="rId5"/>
    <p:sldLayoutId id="2147485187" r:id="rId6"/>
    <p:sldLayoutId id="2147485188" r:id="rId7"/>
    <p:sldLayoutId id="2147485189" r:id="rId8"/>
    <p:sldLayoutId id="2147485190" r:id="rId9"/>
    <p:sldLayoutId id="2147485191" r:id="rId10"/>
    <p:sldLayoutId id="2147485192" r:id="rId11"/>
    <p:sldLayoutId id="2147485215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pitchFamily="34" charset="-128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pitchFamily="34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pitchFamily="34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pitchFamily="34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pitchFamily="34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1 Marcador de título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ítulo del patrón</a:t>
            </a:r>
            <a:endParaRPr lang="es-CO" smtClean="0"/>
          </a:p>
        </p:txBody>
      </p:sp>
      <p:sp>
        <p:nvSpPr>
          <p:cNvPr id="2051" name="2 Marcador de texto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 smtClean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ea typeface="ＭＳ Ｐゴシック" pitchFamily="34" charset="-128"/>
              </a:defRPr>
            </a:lvl1pPr>
          </a:lstStyle>
          <a:p>
            <a:pPr>
              <a:defRPr/>
            </a:pPr>
            <a:fld id="{C5C40CA9-9FE5-427A-A7EF-EB0F7C11076E}" type="datetimeFigureOut">
              <a:rPr lang="es-CO"/>
              <a:pPr>
                <a:defRPr/>
              </a:pPr>
              <a:t>14/03/2014</a:t>
            </a:fld>
            <a:endParaRPr lang="es-CO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ea typeface="ＭＳ Ｐゴシック" pitchFamily="34" charset="-128"/>
              </a:defRPr>
            </a:lvl1pPr>
          </a:lstStyle>
          <a:p>
            <a:pPr>
              <a:defRPr/>
            </a:pPr>
            <a:fld id="{FAB19A1E-896D-4EC9-A4AF-6CBA4CE9F5BF}" type="slidenum">
              <a:rPr lang="es-CO"/>
              <a:pPr>
                <a:defRPr/>
              </a:pPr>
              <a:t>‹Nº›</a:t>
            </a:fld>
            <a:endParaRPr lang="es-CO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193" r:id="rId1"/>
    <p:sldLayoutId id="2147485194" r:id="rId2"/>
    <p:sldLayoutId id="2147485195" r:id="rId3"/>
    <p:sldLayoutId id="2147485196" r:id="rId4"/>
    <p:sldLayoutId id="2147485197" r:id="rId5"/>
    <p:sldLayoutId id="2147485198" r:id="rId6"/>
    <p:sldLayoutId id="2147485199" r:id="rId7"/>
    <p:sldLayoutId id="2147485200" r:id="rId8"/>
    <p:sldLayoutId id="2147485201" r:id="rId9"/>
    <p:sldLayoutId id="2147485202" r:id="rId10"/>
    <p:sldLayoutId id="2147485203" r:id="rId11"/>
    <p:sldLayoutId id="2147485204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1 Marcador de título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ítulo del patrón</a:t>
            </a:r>
            <a:endParaRPr lang="en-US" smtClean="0"/>
          </a:p>
        </p:txBody>
      </p:sp>
      <p:sp>
        <p:nvSpPr>
          <p:cNvPr id="3075" name="2 Marcador de texto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smtClean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s-CO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B8072D3A-3284-47AD-BAFE-7DAC9105067D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  <p:pic>
        <p:nvPicPr>
          <p:cNvPr id="3079" name="1 Imagen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988" y="0"/>
            <a:ext cx="928211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216" r:id="rId1"/>
    <p:sldLayoutId id="2147485205" r:id="rId2"/>
    <p:sldLayoutId id="2147485206" r:id="rId3"/>
    <p:sldLayoutId id="2147485207" r:id="rId4"/>
    <p:sldLayoutId id="2147485217" r:id="rId5"/>
    <p:sldLayoutId id="2147485218" r:id="rId6"/>
    <p:sldLayoutId id="2147485208" r:id="rId7"/>
    <p:sldLayoutId id="2147485233" r:id="rId8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1 Marcador de título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ítulo del patrón</a:t>
            </a:r>
            <a:endParaRPr lang="en-US" smtClean="0"/>
          </a:p>
        </p:txBody>
      </p:sp>
      <p:sp>
        <p:nvSpPr>
          <p:cNvPr id="4099" name="2 Marcador de texto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smtClean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4450D45B-BA89-4722-B9FB-2EE4D1D02878}" type="datetime1">
              <a:rPr lang="es-ES"/>
              <a:pPr>
                <a:defRPr/>
              </a:pPr>
              <a:t>14/03/2014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39CF7AC6-BF67-4549-BF35-4BDF99EBC5A0}" type="slidenum">
              <a:rPr lang="es-ES"/>
              <a:pPr>
                <a:defRPr/>
              </a:pPr>
              <a:t>‹Nº›</a:t>
            </a:fld>
            <a:endParaRPr lang="es-ES"/>
          </a:p>
        </p:txBody>
      </p:sp>
      <p:pic>
        <p:nvPicPr>
          <p:cNvPr id="4103" name="1 Imagen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988" y="0"/>
            <a:ext cx="928211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220" r:id="rId1"/>
    <p:sldLayoutId id="2147485221" r:id="rId2"/>
    <p:sldLayoutId id="2147485222" r:id="rId3"/>
    <p:sldLayoutId id="2147485223" r:id="rId4"/>
    <p:sldLayoutId id="2147485224" r:id="rId5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2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1 Marcador de título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ítulo del patrón</a:t>
            </a:r>
            <a:endParaRPr lang="en-US" smtClean="0"/>
          </a:p>
        </p:txBody>
      </p:sp>
      <p:sp>
        <p:nvSpPr>
          <p:cNvPr id="5123" name="2 Marcador de texto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smtClean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Arial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76EF2451-BE67-44BF-A593-585F2612A796}" type="datetimeFigureOut">
              <a:rPr lang="en-US"/>
              <a:pPr>
                <a:defRPr/>
              </a:pPr>
              <a:t>3/14/2014</a:t>
            </a:fld>
            <a:endParaRPr lang="en-U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prstClr val="black">
                    <a:tint val="75000"/>
                  </a:prstClr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Arial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B23F925F-26E5-4213-B91F-322E3F281EFE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  <p:pic>
        <p:nvPicPr>
          <p:cNvPr id="5127" name="1 Imagen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988" y="0"/>
            <a:ext cx="928211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225" r:id="rId1"/>
    <p:sldLayoutId id="2147485209" r:id="rId2"/>
    <p:sldLayoutId id="2147485210" r:id="rId3"/>
    <p:sldLayoutId id="2147485211" r:id="rId4"/>
    <p:sldLayoutId id="2147485226" r:id="rId5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pitchFamily="34" charset="-128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pitchFamily="34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pitchFamily="34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pitchFamily="34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pitchFamily="34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1 Marcador de título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ítulo del patrón</a:t>
            </a:r>
            <a:endParaRPr lang="en-US" smtClean="0"/>
          </a:p>
        </p:txBody>
      </p:sp>
      <p:sp>
        <p:nvSpPr>
          <p:cNvPr id="6147" name="2 Marcador de texto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n-US" smtClean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Arial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ADC1066D-97C6-4604-A5EA-85066ABCFB92}" type="datetimeFigureOut">
              <a:rPr lang="en-US"/>
              <a:pPr>
                <a:defRPr/>
              </a:pPr>
              <a:t>3/14/2014</a:t>
            </a:fld>
            <a:endParaRPr lang="en-U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prstClr val="black">
                    <a:tint val="75000"/>
                  </a:prstClr>
                </a:solidFill>
                <a:latin typeface="Arial" pitchFamily="34" charset="0"/>
                <a:ea typeface="ＭＳ Ｐゴシック" pitchFamily="34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Arial" pitchFamily="34" charset="0"/>
                <a:ea typeface="ＭＳ Ｐゴシック" pitchFamily="34" charset="-128"/>
              </a:defRPr>
            </a:lvl1pPr>
          </a:lstStyle>
          <a:p>
            <a:pPr>
              <a:defRPr/>
            </a:pPr>
            <a:fld id="{20C7DCA5-5F9C-43CD-B36E-F42A212517FE}" type="slidenum">
              <a:rPr lang="en-US"/>
              <a:pPr>
                <a:defRPr/>
              </a:pPr>
              <a:t>‹Nº›</a:t>
            </a:fld>
            <a:endParaRPr lang="en-US"/>
          </a:p>
        </p:txBody>
      </p:sp>
      <p:pic>
        <p:nvPicPr>
          <p:cNvPr id="6151" name="1 Imagen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6988" y="0"/>
            <a:ext cx="9282113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227" r:id="rId1"/>
    <p:sldLayoutId id="2147485212" r:id="rId2"/>
    <p:sldLayoutId id="2147485213" r:id="rId3"/>
    <p:sldLayoutId id="2147485214" r:id="rId4"/>
    <p:sldLayoutId id="2147485228" r:id="rId5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pitchFamily="34" charset="-128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pitchFamily="34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pitchFamily="34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pitchFamily="34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ＭＳ Ｐゴシック" pitchFamily="34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ＭＳ Ｐゴシック" pitchFamily="34" charset="-128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tags" Target="../tags/tag28.xml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12" Type="http://schemas.openxmlformats.org/officeDocument/2006/relationships/tags" Target="../tags/tag27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tags" Target="../tags/tag21.xml"/><Relationship Id="rId11" Type="http://schemas.openxmlformats.org/officeDocument/2006/relationships/tags" Target="../tags/tag26.xml"/><Relationship Id="rId5" Type="http://schemas.openxmlformats.org/officeDocument/2006/relationships/tags" Target="../tags/tag20.xml"/><Relationship Id="rId15" Type="http://schemas.openxmlformats.org/officeDocument/2006/relationships/slideLayout" Target="../slideLayouts/slideLayout26.xml"/><Relationship Id="rId10" Type="http://schemas.openxmlformats.org/officeDocument/2006/relationships/tags" Target="../tags/tag25.xml"/><Relationship Id="rId4" Type="http://schemas.openxmlformats.org/officeDocument/2006/relationships/tags" Target="../tags/tag19.xml"/><Relationship Id="rId9" Type="http://schemas.openxmlformats.org/officeDocument/2006/relationships/tags" Target="../tags/tag24.xml"/><Relationship Id="rId14" Type="http://schemas.openxmlformats.org/officeDocument/2006/relationships/tags" Target="../tags/tag2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16.jpe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20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8.xml"/><Relationship Id="rId7" Type="http://schemas.microsoft.com/office/2007/relationships/diagramDrawing" Target="../diagrams/drawing8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Relationship Id="rId6" Type="http://schemas.openxmlformats.org/officeDocument/2006/relationships/diagramColors" Target="../diagrams/colors8.xml"/><Relationship Id="rId5" Type="http://schemas.openxmlformats.org/officeDocument/2006/relationships/diagramQuickStyle" Target="../diagrams/quickStyle8.xml"/><Relationship Id="rId4" Type="http://schemas.openxmlformats.org/officeDocument/2006/relationships/diagramLayout" Target="../diagrams/layout8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diagramData" Target="../diagrams/data9.xml"/><Relationship Id="rId7" Type="http://schemas.microsoft.com/office/2007/relationships/diagramDrawing" Target="../diagrams/drawing9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6.xml"/><Relationship Id="rId6" Type="http://schemas.openxmlformats.org/officeDocument/2006/relationships/diagramColors" Target="../diagrams/colors9.xml"/><Relationship Id="rId5" Type="http://schemas.openxmlformats.org/officeDocument/2006/relationships/diagramQuickStyle" Target="../diagrams/quickStyle9.xml"/><Relationship Id="rId4" Type="http://schemas.openxmlformats.org/officeDocument/2006/relationships/diagramLayout" Target="../diagrams/layout9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diagramData" Target="../diagrams/data10.xml"/><Relationship Id="rId7" Type="http://schemas.microsoft.com/office/2007/relationships/diagramDrawing" Target="../diagrams/drawing10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6.xml"/><Relationship Id="rId6" Type="http://schemas.openxmlformats.org/officeDocument/2006/relationships/diagramColors" Target="../diagrams/colors10.xml"/><Relationship Id="rId5" Type="http://schemas.openxmlformats.org/officeDocument/2006/relationships/diagramQuickStyle" Target="../diagrams/quickStyle10.xml"/><Relationship Id="rId4" Type="http://schemas.openxmlformats.org/officeDocument/2006/relationships/diagramLayout" Target="../diagrams/layout1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1.xml"/><Relationship Id="rId2" Type="http://schemas.openxmlformats.org/officeDocument/2006/relationships/diagramData" Target="../diagrams/data11.xml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11.xml"/><Relationship Id="rId5" Type="http://schemas.openxmlformats.org/officeDocument/2006/relationships/diagramColors" Target="../diagrams/colors11.xml"/><Relationship Id="rId4" Type="http://schemas.openxmlformats.org/officeDocument/2006/relationships/diagramQuickStyle" Target="../diagrams/quickStyle1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2.xml"/><Relationship Id="rId7" Type="http://schemas.microsoft.com/office/2007/relationships/diagramDrawing" Target="../diagrams/drawing1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2.xml"/><Relationship Id="rId6" Type="http://schemas.openxmlformats.org/officeDocument/2006/relationships/diagramColors" Target="../diagrams/colors12.xml"/><Relationship Id="rId5" Type="http://schemas.openxmlformats.org/officeDocument/2006/relationships/diagramQuickStyle" Target="../diagrams/quickStyle12.xml"/><Relationship Id="rId4" Type="http://schemas.openxmlformats.org/officeDocument/2006/relationships/diagramLayout" Target="../diagrams/layout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slideLayout" Target="../slideLayouts/slideLayout26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8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13" Type="http://schemas.openxmlformats.org/officeDocument/2006/relationships/tags" Target="../tags/tag42.xml"/><Relationship Id="rId3" Type="http://schemas.openxmlformats.org/officeDocument/2006/relationships/tags" Target="../tags/tag32.xml"/><Relationship Id="rId7" Type="http://schemas.openxmlformats.org/officeDocument/2006/relationships/tags" Target="../tags/tag36.xml"/><Relationship Id="rId12" Type="http://schemas.openxmlformats.org/officeDocument/2006/relationships/tags" Target="../tags/tag41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11" Type="http://schemas.openxmlformats.org/officeDocument/2006/relationships/tags" Target="../tags/tag40.xml"/><Relationship Id="rId5" Type="http://schemas.openxmlformats.org/officeDocument/2006/relationships/tags" Target="../tags/tag34.xml"/><Relationship Id="rId15" Type="http://schemas.openxmlformats.org/officeDocument/2006/relationships/slideLayout" Target="../slideLayouts/slideLayout26.xml"/><Relationship Id="rId10" Type="http://schemas.openxmlformats.org/officeDocument/2006/relationships/tags" Target="../tags/tag39.xml"/><Relationship Id="rId4" Type="http://schemas.openxmlformats.org/officeDocument/2006/relationships/tags" Target="../tags/tag33.xml"/><Relationship Id="rId9" Type="http://schemas.openxmlformats.org/officeDocument/2006/relationships/tags" Target="../tags/tag38.xml"/><Relationship Id="rId14" Type="http://schemas.openxmlformats.org/officeDocument/2006/relationships/tags" Target="../tags/tag43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slide" Target="slide30.xml"/><Relationship Id="rId3" Type="http://schemas.openxmlformats.org/officeDocument/2006/relationships/slide" Target="slide14.xml"/><Relationship Id="rId7" Type="http://schemas.openxmlformats.org/officeDocument/2006/relationships/slide" Target="slide38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6.xml"/><Relationship Id="rId6" Type="http://schemas.openxmlformats.org/officeDocument/2006/relationships/slide" Target="slide29.xml"/><Relationship Id="rId5" Type="http://schemas.openxmlformats.org/officeDocument/2006/relationships/slide" Target="slide33.xml"/><Relationship Id="rId4" Type="http://schemas.openxmlformats.org/officeDocument/2006/relationships/slide" Target="slide2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51.xml"/><Relationship Id="rId13" Type="http://schemas.openxmlformats.org/officeDocument/2006/relationships/tags" Target="../tags/tag56.xml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12" Type="http://schemas.openxmlformats.org/officeDocument/2006/relationships/tags" Target="../tags/tag55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tags" Target="../tags/tag49.xml"/><Relationship Id="rId11" Type="http://schemas.openxmlformats.org/officeDocument/2006/relationships/tags" Target="../tags/tag54.xml"/><Relationship Id="rId5" Type="http://schemas.openxmlformats.org/officeDocument/2006/relationships/tags" Target="../tags/tag48.xml"/><Relationship Id="rId15" Type="http://schemas.openxmlformats.org/officeDocument/2006/relationships/slideLayout" Target="../slideLayouts/slideLayout26.xml"/><Relationship Id="rId10" Type="http://schemas.openxmlformats.org/officeDocument/2006/relationships/tags" Target="../tags/tag53.xml"/><Relationship Id="rId4" Type="http://schemas.openxmlformats.org/officeDocument/2006/relationships/tags" Target="../tags/tag47.xml"/><Relationship Id="rId9" Type="http://schemas.openxmlformats.org/officeDocument/2006/relationships/tags" Target="../tags/tag52.xml"/><Relationship Id="rId14" Type="http://schemas.openxmlformats.org/officeDocument/2006/relationships/tags" Target="../tags/tag5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6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emf"/><Relationship Id="rId13" Type="http://schemas.openxmlformats.org/officeDocument/2006/relationships/image" Target="../media/image36.emf"/><Relationship Id="rId3" Type="http://schemas.openxmlformats.org/officeDocument/2006/relationships/image" Target="../media/image26.emf"/><Relationship Id="rId7" Type="http://schemas.openxmlformats.org/officeDocument/2006/relationships/image" Target="../media/image30.emf"/><Relationship Id="rId12" Type="http://schemas.openxmlformats.org/officeDocument/2006/relationships/image" Target="../media/image35.emf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29.emf"/><Relationship Id="rId11" Type="http://schemas.openxmlformats.org/officeDocument/2006/relationships/image" Target="../media/image34.emf"/><Relationship Id="rId5" Type="http://schemas.openxmlformats.org/officeDocument/2006/relationships/image" Target="../media/image28.emf"/><Relationship Id="rId15" Type="http://schemas.openxmlformats.org/officeDocument/2006/relationships/slide" Target="slide38.xml"/><Relationship Id="rId10" Type="http://schemas.openxmlformats.org/officeDocument/2006/relationships/image" Target="../media/image33.emf"/><Relationship Id="rId4" Type="http://schemas.openxmlformats.org/officeDocument/2006/relationships/image" Target="../media/image27.emf"/><Relationship Id="rId9" Type="http://schemas.openxmlformats.org/officeDocument/2006/relationships/image" Target="../media/image32.emf"/><Relationship Id="rId14" Type="http://schemas.openxmlformats.org/officeDocument/2006/relationships/image" Target="../media/image37.emf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3.xml"/><Relationship Id="rId2" Type="http://schemas.openxmlformats.org/officeDocument/2006/relationships/diagramData" Target="../diagrams/data13.xml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13.xml"/><Relationship Id="rId5" Type="http://schemas.openxmlformats.org/officeDocument/2006/relationships/diagramColors" Target="../diagrams/colors13.xml"/><Relationship Id="rId4" Type="http://schemas.openxmlformats.org/officeDocument/2006/relationships/diagramQuickStyle" Target="../diagrams/quickStyle13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4.xml"/><Relationship Id="rId7" Type="http://schemas.openxmlformats.org/officeDocument/2006/relationships/image" Target="../media/image38.emf"/><Relationship Id="rId2" Type="http://schemas.openxmlformats.org/officeDocument/2006/relationships/diagramData" Target="../diagrams/data14.xml"/><Relationship Id="rId1" Type="http://schemas.openxmlformats.org/officeDocument/2006/relationships/slideLayout" Target="../slideLayouts/slideLayout31.xml"/><Relationship Id="rId6" Type="http://schemas.microsoft.com/office/2007/relationships/diagramDrawing" Target="../diagrams/drawing14.xml"/><Relationship Id="rId5" Type="http://schemas.openxmlformats.org/officeDocument/2006/relationships/diagramColors" Target="../diagrams/colors14.xml"/><Relationship Id="rId4" Type="http://schemas.openxmlformats.org/officeDocument/2006/relationships/diagramQuickStyle" Target="../diagrams/quickStyle14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5.xml"/><Relationship Id="rId2" Type="http://schemas.openxmlformats.org/officeDocument/2006/relationships/diagramData" Target="../diagrams/data15.xml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15.xml"/><Relationship Id="rId5" Type="http://schemas.openxmlformats.org/officeDocument/2006/relationships/diagramColors" Target="../diagrams/colors15.xml"/><Relationship Id="rId4" Type="http://schemas.openxmlformats.org/officeDocument/2006/relationships/diagramQuickStyle" Target="../diagrams/quickStyle1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6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3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32.xml"/></Relationships>
</file>

<file path=ppt/slides/_rels/slide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43.png"/><Relationship Id="rId7" Type="http://schemas.openxmlformats.org/officeDocument/2006/relationships/image" Target="../media/image47.png"/><Relationship Id="rId2" Type="http://schemas.openxmlformats.org/officeDocument/2006/relationships/hyperlink" Target="http://www.colombiaaprende.edu.co/educacionparaeltrabajo/" TargetMode="External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Relationship Id="rId9" Type="http://schemas.openxmlformats.org/officeDocument/2006/relationships/image" Target="../media/image49.png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6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wmf"/><Relationship Id="rId1" Type="http://schemas.openxmlformats.org/officeDocument/2006/relationships/slideLayout" Target="../slideLayouts/slideLayout26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13" Type="http://schemas.openxmlformats.org/officeDocument/2006/relationships/tags" Target="../tags/tag70.xml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12" Type="http://schemas.openxmlformats.org/officeDocument/2006/relationships/tags" Target="../tags/tag69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tags" Target="../tags/tag63.xml"/><Relationship Id="rId11" Type="http://schemas.openxmlformats.org/officeDocument/2006/relationships/tags" Target="../tags/tag68.xml"/><Relationship Id="rId5" Type="http://schemas.openxmlformats.org/officeDocument/2006/relationships/tags" Target="../tags/tag62.xml"/><Relationship Id="rId15" Type="http://schemas.openxmlformats.org/officeDocument/2006/relationships/slideLayout" Target="../slideLayouts/slideLayout26.xml"/><Relationship Id="rId10" Type="http://schemas.openxmlformats.org/officeDocument/2006/relationships/tags" Target="../tags/tag67.xml"/><Relationship Id="rId4" Type="http://schemas.openxmlformats.org/officeDocument/2006/relationships/tags" Target="../tags/tag61.xml"/><Relationship Id="rId9" Type="http://schemas.openxmlformats.org/officeDocument/2006/relationships/tags" Target="../tags/tag66.xml"/><Relationship Id="rId14" Type="http://schemas.openxmlformats.org/officeDocument/2006/relationships/tags" Target="../tags/tag71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6.xml"/><Relationship Id="rId2" Type="http://schemas.openxmlformats.org/officeDocument/2006/relationships/diagramData" Target="../diagrams/data16.xml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16.xml"/><Relationship Id="rId5" Type="http://schemas.openxmlformats.org/officeDocument/2006/relationships/diagramColors" Target="../diagrams/colors16.xml"/><Relationship Id="rId4" Type="http://schemas.openxmlformats.org/officeDocument/2006/relationships/diagramQuickStyle" Target="../diagrams/quickStyle16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6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7.xml"/><Relationship Id="rId2" Type="http://schemas.openxmlformats.org/officeDocument/2006/relationships/diagramData" Target="../diagrams/data17.xml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17.xml"/><Relationship Id="rId5" Type="http://schemas.openxmlformats.org/officeDocument/2006/relationships/diagramColors" Target="../diagrams/colors17.xml"/><Relationship Id="rId4" Type="http://schemas.openxmlformats.org/officeDocument/2006/relationships/diagramQuickStyle" Target="../diagrams/quickStyle17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8.xml"/><Relationship Id="rId2" Type="http://schemas.openxmlformats.org/officeDocument/2006/relationships/diagramData" Target="../diagrams/data18.xml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18.xml"/><Relationship Id="rId5" Type="http://schemas.openxmlformats.org/officeDocument/2006/relationships/diagramColors" Target="../diagrams/colors18.xml"/><Relationship Id="rId4" Type="http://schemas.openxmlformats.org/officeDocument/2006/relationships/diagramQuickStyle" Target="../diagrams/quickStyle18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9.xml"/><Relationship Id="rId2" Type="http://schemas.openxmlformats.org/officeDocument/2006/relationships/diagramData" Target="../diagrams/data19.xml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19.xml"/><Relationship Id="rId5" Type="http://schemas.openxmlformats.org/officeDocument/2006/relationships/diagramColors" Target="../diagrams/colors19.xml"/><Relationship Id="rId4" Type="http://schemas.openxmlformats.org/officeDocument/2006/relationships/diagramQuickStyle" Target="../diagrams/quickStyle1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0.xml"/><Relationship Id="rId2" Type="http://schemas.openxmlformats.org/officeDocument/2006/relationships/diagramData" Target="../diagrams/data20.xml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20.xml"/><Relationship Id="rId5" Type="http://schemas.openxmlformats.org/officeDocument/2006/relationships/diagramColors" Target="../diagrams/colors20.xml"/><Relationship Id="rId4" Type="http://schemas.openxmlformats.org/officeDocument/2006/relationships/diagramQuickStyle" Target="../diagrams/quickStyle20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1.xml"/><Relationship Id="rId2" Type="http://schemas.openxmlformats.org/officeDocument/2006/relationships/diagramData" Target="../diagrams/data21.xml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21.xml"/><Relationship Id="rId5" Type="http://schemas.openxmlformats.org/officeDocument/2006/relationships/diagramColors" Target="../diagrams/colors21.xml"/><Relationship Id="rId4" Type="http://schemas.openxmlformats.org/officeDocument/2006/relationships/diagramQuickStyle" Target="../diagrams/quickStyle21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26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6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6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4.xml"/><Relationship Id="rId3" Type="http://schemas.openxmlformats.org/officeDocument/2006/relationships/diagramLayout" Target="../diagrams/layout3.xml"/><Relationship Id="rId7" Type="http://schemas.openxmlformats.org/officeDocument/2006/relationships/diagramData" Target="../diagrams/data4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3.xml"/><Relationship Id="rId11" Type="http://schemas.microsoft.com/office/2007/relationships/diagramDrawing" Target="../diagrams/drawing4.xml"/><Relationship Id="rId5" Type="http://schemas.openxmlformats.org/officeDocument/2006/relationships/diagramColors" Target="../diagrams/colors3.xml"/><Relationship Id="rId10" Type="http://schemas.openxmlformats.org/officeDocument/2006/relationships/diagramColors" Target="../diagrams/colors4.xml"/><Relationship Id="rId4" Type="http://schemas.openxmlformats.org/officeDocument/2006/relationships/diagramQuickStyle" Target="../diagrams/quickStyle3.xml"/><Relationship Id="rId9" Type="http://schemas.openxmlformats.org/officeDocument/2006/relationships/diagramQuickStyle" Target="../diagrams/quickStyle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6.xml"/><Relationship Id="rId3" Type="http://schemas.openxmlformats.org/officeDocument/2006/relationships/diagramLayout" Target="../diagrams/layout5.xml"/><Relationship Id="rId7" Type="http://schemas.openxmlformats.org/officeDocument/2006/relationships/diagramData" Target="../diagrams/data6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5.xml"/><Relationship Id="rId11" Type="http://schemas.microsoft.com/office/2007/relationships/diagramDrawing" Target="../diagrams/drawing6.xml"/><Relationship Id="rId5" Type="http://schemas.openxmlformats.org/officeDocument/2006/relationships/diagramColors" Target="../diagrams/colors5.xml"/><Relationship Id="rId10" Type="http://schemas.openxmlformats.org/officeDocument/2006/relationships/diagramColors" Target="../diagrams/colors6.xml"/><Relationship Id="rId4" Type="http://schemas.openxmlformats.org/officeDocument/2006/relationships/diagramQuickStyle" Target="../diagrams/quickStyle5.xml"/><Relationship Id="rId9" Type="http://schemas.openxmlformats.org/officeDocument/2006/relationships/diagramQuickStyle" Target="../diagrams/quickStyle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15.xml"/><Relationship Id="rId6" Type="http://schemas.openxmlformats.org/officeDocument/2006/relationships/image" Target="../media/image12.jpeg"/><Relationship Id="rId5" Type="http://schemas.openxmlformats.org/officeDocument/2006/relationships/image" Target="../media/image11.png"/><Relationship Id="rId4" Type="http://schemas.openxmlformats.org/officeDocument/2006/relationships/image" Target="../media/image1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title"/>
          </p:nvPr>
        </p:nvSpPr>
        <p:spPr>
          <a:xfrm>
            <a:off x="899592" y="2966169"/>
            <a:ext cx="7344816" cy="3847207"/>
          </a:xfrm>
          <a:ln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s-CO" sz="2000" i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TEMA DE ASEGURAMIENTO DE CALIDAD DE LA EDUCACIÓN PARA EL TRABAJO  Y EL DESARROLLO HUMANO</a:t>
            </a:r>
            <a:r>
              <a:rPr lang="es-CO" sz="2800" i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es-CO" sz="2800" i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s-CO" sz="2800" i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es-CO" sz="2800" i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s-CO" sz="28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es-CO" sz="28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s-CO" sz="2800" i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es-CO" sz="2800" i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s-CO" sz="28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es-CO" sz="28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s-CO" sz="2800" i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es-CO" sz="2800" i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s-CO" sz="2400" i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ereyda</a:t>
            </a:r>
            <a:r>
              <a:rPr lang="es-CO" sz="2400" i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Correa Rosales</a:t>
            </a:r>
            <a:r>
              <a:rPr lang="es-CO" sz="2000" i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es-CO" sz="2000" i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es-CO" sz="2000" i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ogotá, Marzo 2014</a:t>
            </a:r>
            <a:endParaRPr lang="en-US" sz="3600" b="0" i="1" dirty="0">
              <a:solidFill>
                <a:schemeClr val="tx1">
                  <a:lumMod val="95000"/>
                  <a:lumOff val="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M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1 Rectángulo"/>
          <p:cNvSpPr/>
          <p:nvPr/>
        </p:nvSpPr>
        <p:spPr>
          <a:xfrm>
            <a:off x="1259632" y="2348880"/>
            <a:ext cx="705678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s-CO" i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ICEMINISTERIO DE EDUCACION </a:t>
            </a:r>
            <a:r>
              <a:rPr lang="es-CO" i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UPERIOR</a:t>
            </a:r>
            <a:endParaRPr lang="es-CO" dirty="0"/>
          </a:p>
        </p:txBody>
      </p:sp>
      <p:pic>
        <p:nvPicPr>
          <p:cNvPr id="3" name="2 Imagen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34399"/>
          <a:stretch/>
        </p:blipFill>
        <p:spPr>
          <a:xfrm>
            <a:off x="2123728" y="4149080"/>
            <a:ext cx="4915335" cy="1656184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789238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6 Título"/>
          <p:cNvSpPr>
            <a:spLocks noGrp="1"/>
          </p:cNvSpPr>
          <p:nvPr>
            <p:ph type="title"/>
          </p:nvPr>
        </p:nvSpPr>
        <p:spPr>
          <a:xfrm>
            <a:off x="457200" y="764704"/>
            <a:ext cx="8229600" cy="1143000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es-ES" sz="3200" b="1" dirty="0" smtClean="0">
                <a:solidFill>
                  <a:schemeClr val="accent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OLÍTICA EDUCATIVA 2010 - 2014</a:t>
            </a:r>
            <a:endParaRPr lang="es-ES" sz="3200" b="1" dirty="0">
              <a:solidFill>
                <a:schemeClr val="accent2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16" name="3 Marcador de contenido"/>
          <p:cNvGraphicFramePr>
            <a:graphicFrameLocks/>
          </p:cNvGraphicFramePr>
          <p:nvPr>
            <p:extLst>
              <p:ext uri="{D42A27DB-BD31-4B8C-83A1-F6EECF244321}">
                <p14:modId xmlns="" xmlns:p14="http://schemas.microsoft.com/office/powerpoint/2010/main" val="1372644314"/>
              </p:ext>
            </p:extLst>
          </p:nvPr>
        </p:nvGraphicFramePr>
        <p:xfrm>
          <a:off x="683568" y="2205583"/>
          <a:ext cx="7319156" cy="381570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" name="1 Rectángulo"/>
          <p:cNvSpPr/>
          <p:nvPr/>
        </p:nvSpPr>
        <p:spPr>
          <a:xfrm>
            <a:off x="5081698" y="3212976"/>
            <a:ext cx="2514638" cy="738664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lvl="0" algn="ctr"/>
            <a:r>
              <a:rPr lang="es-CO" sz="1400" dirty="0"/>
              <a:t>Consolidación del </a:t>
            </a:r>
            <a:r>
              <a:rPr lang="es-CO" sz="1400" dirty="0" smtClean="0"/>
              <a:t>Sistema</a:t>
            </a:r>
          </a:p>
          <a:p>
            <a:pPr lvl="0" algn="ctr"/>
            <a:r>
              <a:rPr lang="es-CO" sz="1400" dirty="0" smtClean="0"/>
              <a:t> </a:t>
            </a:r>
            <a:r>
              <a:rPr lang="es-CO" sz="1400" dirty="0"/>
              <a:t>de Aseguramiento de la </a:t>
            </a:r>
            <a:r>
              <a:rPr lang="es-CO" sz="1400" dirty="0" smtClean="0"/>
              <a:t>calidad de la FT.</a:t>
            </a:r>
            <a:endParaRPr lang="es-CO" sz="1400" dirty="0"/>
          </a:p>
        </p:txBody>
      </p:sp>
      <p:sp>
        <p:nvSpPr>
          <p:cNvPr id="5" name="4 Rectángulo"/>
          <p:cNvSpPr/>
          <p:nvPr/>
        </p:nvSpPr>
        <p:spPr>
          <a:xfrm>
            <a:off x="611560" y="4149080"/>
            <a:ext cx="1656184" cy="954107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s-CO" sz="1400" dirty="0"/>
              <a:t>Fortalecimiento y modernización de la gestión de </a:t>
            </a:r>
            <a:r>
              <a:rPr lang="es-CO" sz="1400" dirty="0" smtClean="0"/>
              <a:t>la FTDH.</a:t>
            </a:r>
            <a:endParaRPr lang="es-CO" sz="1400" dirty="0"/>
          </a:p>
        </p:txBody>
      </p:sp>
      <p:sp>
        <p:nvSpPr>
          <p:cNvPr id="6" name="5 Rectángulo"/>
          <p:cNvSpPr/>
          <p:nvPr/>
        </p:nvSpPr>
        <p:spPr>
          <a:xfrm>
            <a:off x="6300192" y="5139189"/>
            <a:ext cx="2304256" cy="954107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lvl="0" algn="ctr"/>
            <a:r>
              <a:rPr lang="es-CO" sz="1400" dirty="0" smtClean="0"/>
              <a:t>Construcción del MNC</a:t>
            </a:r>
          </a:p>
          <a:p>
            <a:pPr lvl="0" algn="ctr"/>
            <a:r>
              <a:rPr lang="es-CO" sz="1400" dirty="0" smtClean="0"/>
              <a:t>Articulación de la </a:t>
            </a:r>
          </a:p>
          <a:p>
            <a:pPr lvl="0" algn="ctr"/>
            <a:r>
              <a:rPr lang="es-CO" sz="1400" dirty="0" smtClean="0"/>
              <a:t>Educación Media </a:t>
            </a:r>
          </a:p>
          <a:p>
            <a:pPr lvl="0" algn="ctr"/>
            <a:r>
              <a:rPr lang="es-CO" sz="1400" dirty="0" smtClean="0"/>
              <a:t>con la Terciaria.</a:t>
            </a:r>
            <a:endParaRPr lang="es-CO" sz="1400" dirty="0"/>
          </a:p>
        </p:txBody>
      </p:sp>
      <p:sp>
        <p:nvSpPr>
          <p:cNvPr id="8" name="7 Rectángulo"/>
          <p:cNvSpPr/>
          <p:nvPr/>
        </p:nvSpPr>
        <p:spPr>
          <a:xfrm>
            <a:off x="1403648" y="1556792"/>
            <a:ext cx="2514638" cy="738664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lvl="0" algn="ctr"/>
            <a:r>
              <a:rPr lang="es-CO" sz="1400" dirty="0"/>
              <a:t>Consolidación del </a:t>
            </a:r>
            <a:r>
              <a:rPr lang="es-CO" sz="1400" dirty="0" smtClean="0"/>
              <a:t>SFT</a:t>
            </a:r>
          </a:p>
          <a:p>
            <a:pPr lvl="0" algn="ctr"/>
            <a:r>
              <a:rPr lang="es-CO" sz="1400" dirty="0" smtClean="0"/>
              <a:t>Fortalecimiento de Redes Regionales</a:t>
            </a:r>
            <a:endParaRPr lang="es-CO" sz="1400" dirty="0"/>
          </a:p>
        </p:txBody>
      </p:sp>
      <p:sp>
        <p:nvSpPr>
          <p:cNvPr id="3" name="2 Nube"/>
          <p:cNvSpPr/>
          <p:nvPr/>
        </p:nvSpPr>
        <p:spPr>
          <a:xfrm>
            <a:off x="2915816" y="1772816"/>
            <a:ext cx="914400" cy="914400"/>
          </a:xfrm>
          <a:prstGeom prst="cloud">
            <a:avLst/>
          </a:prstGeom>
          <a:noFill/>
        </p:spPr>
        <p:txBody>
          <a:bodyPr wrap="none" lIns="91440" tIns="45720" rIns="91440" bIns="45720" rtlCol="0" anchor="ctr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endParaRPr lang="es-ES" sz="2000" cap="all" dirty="0" smtClean="0">
              <a:ln w="0"/>
              <a:gradFill flip="none">
                <a:gsLst>
                  <a:gs pos="0">
                    <a:schemeClr val="accent1">
                      <a:tint val="75000"/>
                      <a:shade val="75000"/>
                      <a:satMod val="170000"/>
                    </a:schemeClr>
                  </a:gs>
                  <a:gs pos="49000">
                    <a:schemeClr val="accent1">
                      <a:tint val="88000"/>
                      <a:shade val="65000"/>
                      <a:satMod val="172000"/>
                    </a:schemeClr>
                  </a:gs>
                  <a:gs pos="50000">
                    <a:schemeClr val="accent1">
                      <a:shade val="65000"/>
                      <a:satMod val="130000"/>
                    </a:schemeClr>
                  </a:gs>
                  <a:gs pos="92000">
                    <a:schemeClr val="accent1">
                      <a:shade val="50000"/>
                      <a:satMod val="120000"/>
                    </a:schemeClr>
                  </a:gs>
                  <a:gs pos="100000">
                    <a:schemeClr val="accent1">
                      <a:shade val="48000"/>
                      <a:satMod val="120000"/>
                    </a:schemeClr>
                  </a:gs>
                </a:gsLst>
                <a:lin ang="5400000"/>
              </a:gradFill>
              <a:effectLst>
                <a:reflection blurRad="12700" stA="50000" endPos="50000" dist="5000" dir="5400000" sy="-100000" rotWithShape="0"/>
              </a:effectLst>
              <a:latin typeface="Arial Rounded MT Bold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951163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1 Título"/>
          <p:cNvSpPr>
            <a:spLocks noGrp="1"/>
          </p:cNvSpPr>
          <p:nvPr>
            <p:ph type="title"/>
          </p:nvPr>
        </p:nvSpPr>
        <p:spPr>
          <a:xfrm>
            <a:off x="5043077" y="620688"/>
            <a:ext cx="4077380" cy="504056"/>
          </a:xfrm>
        </p:spPr>
        <p:txBody>
          <a:bodyPr/>
          <a:lstStyle/>
          <a:p>
            <a:pPr>
              <a:defRPr/>
            </a:pPr>
            <a:r>
              <a:rPr lang="es-CO" b="1" i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Arial" pitchFamily="34" charset="0"/>
              </a:rPr>
              <a:t>Contenido</a:t>
            </a:r>
          </a:p>
        </p:txBody>
      </p:sp>
      <p:sp>
        <p:nvSpPr>
          <p:cNvPr id="21" name="AutoShape 9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103734" y="1824500"/>
            <a:ext cx="5420594" cy="668396"/>
          </a:xfrm>
          <a:prstGeom prst="roundRect">
            <a:avLst>
              <a:gd name="adj" fmla="val 50000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wrap="none" anchor="ctr"/>
          <a:lstStyle/>
          <a:p>
            <a:pPr>
              <a:defRPr/>
            </a:pPr>
            <a:endParaRPr lang="en-GB" sz="2000" b="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2" name="Rectangle 10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338783" y="2077397"/>
            <a:ext cx="4969744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266700" lvl="1" indent="-266700" defTabSz="895350">
              <a:spcBef>
                <a:spcPct val="60000"/>
              </a:spcBef>
              <a:spcAft>
                <a:spcPct val="60000"/>
              </a:spcAft>
              <a:buClr>
                <a:schemeClr val="bg1"/>
              </a:buClr>
              <a:buFont typeface="Wingdings" pitchFamily="2" charset="2"/>
              <a:buChar char="§"/>
              <a:defRPr/>
            </a:pPr>
            <a:r>
              <a:rPr lang="es-CO" sz="1800" dirty="0" smtClean="0">
                <a:solidFill>
                  <a:srgbClr val="5F5F5F"/>
                </a:solidFill>
              </a:rPr>
              <a:t>Contexto</a:t>
            </a:r>
            <a:endParaRPr lang="es-CO" sz="1800" dirty="0">
              <a:solidFill>
                <a:srgbClr val="5F5F5F"/>
              </a:solidFill>
            </a:endParaRPr>
          </a:p>
        </p:txBody>
      </p:sp>
      <p:sp>
        <p:nvSpPr>
          <p:cNvPr id="23" name="AutoShape 9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103734" y="3551531"/>
            <a:ext cx="5420594" cy="668396"/>
          </a:xfrm>
          <a:prstGeom prst="roundRect">
            <a:avLst>
              <a:gd name="adj" fmla="val 50000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wrap="none" anchor="ctr"/>
          <a:lstStyle/>
          <a:p>
            <a:pPr>
              <a:defRPr/>
            </a:pPr>
            <a:endParaRPr lang="en-GB" sz="2000" b="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4" name="Rectangle 10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338783" y="3804428"/>
            <a:ext cx="4969744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266700" lvl="1" indent="-266700" defTabSz="895350">
              <a:spcBef>
                <a:spcPct val="60000"/>
              </a:spcBef>
              <a:spcAft>
                <a:spcPct val="60000"/>
              </a:spcAft>
              <a:buClr>
                <a:schemeClr val="bg1"/>
              </a:buClr>
              <a:buFont typeface="Wingdings" pitchFamily="2" charset="2"/>
              <a:buChar char="§"/>
              <a:defRPr/>
            </a:pPr>
            <a:r>
              <a:rPr lang="es-CO" sz="1800" dirty="0" smtClean="0">
                <a:solidFill>
                  <a:srgbClr val="5F5F5F"/>
                </a:solidFill>
              </a:rPr>
              <a:t>Modelo estratégico</a:t>
            </a:r>
            <a:endParaRPr lang="es-CO" sz="1800" dirty="0">
              <a:solidFill>
                <a:srgbClr val="5F5F5F"/>
              </a:solidFill>
            </a:endParaRPr>
          </a:p>
        </p:txBody>
      </p:sp>
      <p:sp>
        <p:nvSpPr>
          <p:cNvPr id="26" name="AutoShape 9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103734" y="4323295"/>
            <a:ext cx="5420594" cy="668396"/>
          </a:xfrm>
          <a:prstGeom prst="roundRect">
            <a:avLst>
              <a:gd name="adj" fmla="val 50000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wrap="none" anchor="ctr"/>
          <a:lstStyle/>
          <a:p>
            <a:pPr>
              <a:defRPr/>
            </a:pPr>
            <a:endParaRPr lang="en-GB" sz="2000" b="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7" name="Rectangle 10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338783" y="4576192"/>
            <a:ext cx="4969744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266700" lvl="1" indent="-266700" defTabSz="895350">
              <a:spcBef>
                <a:spcPct val="60000"/>
              </a:spcBef>
              <a:spcAft>
                <a:spcPct val="60000"/>
              </a:spcAft>
              <a:buClr>
                <a:schemeClr val="bg1"/>
              </a:buClr>
              <a:buFont typeface="Wingdings" pitchFamily="2" charset="2"/>
              <a:buChar char="§"/>
              <a:defRPr/>
            </a:pPr>
            <a:r>
              <a:rPr lang="es-CO" sz="1800" dirty="0" smtClean="0">
                <a:solidFill>
                  <a:srgbClr val="5F5F5F"/>
                </a:solidFill>
              </a:rPr>
              <a:t>Sistema de aseguramiento </a:t>
            </a:r>
            <a:endParaRPr lang="es-CO" sz="1800" dirty="0">
              <a:solidFill>
                <a:srgbClr val="5F5F5F"/>
              </a:solidFill>
            </a:endParaRPr>
          </a:p>
        </p:txBody>
      </p:sp>
      <p:sp>
        <p:nvSpPr>
          <p:cNvPr id="33" name="Rectangle 5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 flipH="1">
            <a:off x="6697140" y="2708920"/>
            <a:ext cx="1907308" cy="677689"/>
          </a:xfrm>
          <a:prstGeom prst="rect">
            <a:avLst/>
          </a:prstGeom>
          <a:solidFill>
            <a:srgbClr val="FFFF00"/>
          </a:solidFill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>
              <a:defRPr/>
            </a:pPr>
            <a:endParaRPr lang="en-GB" sz="2000" b="0"/>
          </a:p>
        </p:txBody>
      </p:sp>
      <p:sp>
        <p:nvSpPr>
          <p:cNvPr id="34" name="AutoShape 6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 flipH="1">
            <a:off x="6698952" y="2636913"/>
            <a:ext cx="1041400" cy="77060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GB" sz="2000" b="0"/>
          </a:p>
        </p:txBody>
      </p:sp>
      <p:sp>
        <p:nvSpPr>
          <p:cNvPr id="35" name="Rectangle 7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755576" y="2708920"/>
            <a:ext cx="1670274" cy="698595"/>
          </a:xfrm>
          <a:prstGeom prst="rect">
            <a:avLst/>
          </a:prstGeom>
          <a:solidFill>
            <a:srgbClr val="FFFF00"/>
          </a:solidFill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>
              <a:defRPr/>
            </a:pPr>
            <a:endParaRPr lang="en-GB" sz="2000" b="0"/>
          </a:p>
        </p:txBody>
      </p:sp>
      <p:sp>
        <p:nvSpPr>
          <p:cNvPr id="36" name="AutoShape 8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1771353" y="2636912"/>
            <a:ext cx="1107976" cy="77060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/>
            <a:endParaRPr lang="en-GB" sz="2000"/>
          </a:p>
        </p:txBody>
      </p:sp>
      <p:sp>
        <p:nvSpPr>
          <p:cNvPr id="37" name="AutoShape 9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2068215" y="2709491"/>
            <a:ext cx="5456337" cy="698023"/>
          </a:xfrm>
          <a:prstGeom prst="roundRect">
            <a:avLst>
              <a:gd name="adj" fmla="val 50000"/>
            </a:avLst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wrap="none" anchor="ctr"/>
          <a:lstStyle/>
          <a:p>
            <a:pPr>
              <a:defRPr/>
            </a:pPr>
            <a:endParaRPr lang="en-GB" sz="1600" b="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38" name="Rectangle 10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2303264" y="2924944"/>
            <a:ext cx="5221288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marL="266700" lvl="1" indent="-266700" defTabSz="895350">
              <a:spcBef>
                <a:spcPct val="60000"/>
              </a:spcBef>
              <a:spcAft>
                <a:spcPct val="60000"/>
              </a:spcAft>
              <a:buClr>
                <a:schemeClr val="bg1"/>
              </a:buClr>
              <a:buFont typeface="Wingdings" pitchFamily="2" charset="2"/>
              <a:buChar char="§"/>
              <a:defRPr/>
            </a:pPr>
            <a:r>
              <a:rPr lang="es-CO" sz="2000" dirty="0" smtClean="0">
                <a:ln w="18415" cmpd="sng">
                  <a:noFill/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ea typeface="MS PGothic" pitchFamily="34" charset="-128"/>
              </a:rPr>
              <a:t>Estado actual</a:t>
            </a:r>
            <a:endParaRPr lang="es-CO" sz="2000" dirty="0">
              <a:ln w="18415" cmpd="sng">
                <a:noFill/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ea typeface="MS PGothic" pitchFamily="34" charset="-128"/>
            </a:endParaRPr>
          </a:p>
        </p:txBody>
      </p:sp>
      <p:sp>
        <p:nvSpPr>
          <p:cNvPr id="16" name="AutoShape 9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2123728" y="5136868"/>
            <a:ext cx="5420594" cy="668396"/>
          </a:xfrm>
          <a:prstGeom prst="roundRect">
            <a:avLst>
              <a:gd name="adj" fmla="val 50000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wrap="none" anchor="ctr"/>
          <a:lstStyle/>
          <a:p>
            <a:pPr>
              <a:defRPr/>
            </a:pPr>
            <a:endParaRPr lang="en-GB" sz="2000" b="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7" name="Rectangle 10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2358777" y="5389765"/>
            <a:ext cx="4969744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266700" lvl="1" indent="-266700" defTabSz="895350">
              <a:spcBef>
                <a:spcPct val="60000"/>
              </a:spcBef>
              <a:spcAft>
                <a:spcPct val="60000"/>
              </a:spcAft>
              <a:buClr>
                <a:schemeClr val="bg1"/>
              </a:buClr>
              <a:buFont typeface="Wingdings" pitchFamily="2" charset="2"/>
              <a:buChar char="§"/>
              <a:defRPr/>
            </a:pPr>
            <a:r>
              <a:rPr lang="es-CO" sz="1800" dirty="0" smtClean="0">
                <a:solidFill>
                  <a:srgbClr val="5F5F5F"/>
                </a:solidFill>
              </a:rPr>
              <a:t>Gestión desde las Entidades Territoriales</a:t>
            </a:r>
            <a:endParaRPr lang="es-CO" sz="1800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8266948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1 Título"/>
          <p:cNvSpPr txBox="1">
            <a:spLocks/>
          </p:cNvSpPr>
          <p:nvPr/>
        </p:nvSpPr>
        <p:spPr bwMode="auto">
          <a:xfrm>
            <a:off x="4716016" y="68984"/>
            <a:ext cx="4427984" cy="14878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defPPr>
              <a:defRPr lang="en-US"/>
            </a:defPPr>
            <a:lvl1pPr marL="342900" indent="-342900" algn="ctr" eaLnBrk="0" hangingPunct="0">
              <a:spcBef>
                <a:spcPct val="20000"/>
              </a:spcBef>
              <a:defRPr i="1" ker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>
              <a:spcBef>
                <a:spcPts val="0"/>
              </a:spcBef>
              <a:defRPr/>
            </a:pPr>
            <a:r>
              <a:rPr lang="es-ES_tradnl" sz="1800" dirty="0" smtClean="0"/>
              <a:t>TALLERES  SECRETARIOS DE EDUCACIÓN</a:t>
            </a:r>
          </a:p>
          <a:p>
            <a:pPr>
              <a:spcBef>
                <a:spcPts val="0"/>
              </a:spcBef>
              <a:defRPr/>
            </a:pPr>
            <a:r>
              <a:rPr lang="es-ES_tradnl" sz="1800" dirty="0" smtClean="0"/>
              <a:t>Secretarías de Educación Certificadas. </a:t>
            </a:r>
          </a:p>
          <a:p>
            <a:pPr>
              <a:spcBef>
                <a:spcPts val="0"/>
              </a:spcBef>
              <a:defRPr/>
            </a:pPr>
            <a:r>
              <a:rPr lang="es-ES_tradnl" sz="1800" dirty="0" smtClean="0"/>
              <a:t>Bogotá, agosto 1 y 2 de 2013</a:t>
            </a:r>
          </a:p>
          <a:p>
            <a:pPr>
              <a:spcBef>
                <a:spcPts val="0"/>
              </a:spcBef>
              <a:defRPr/>
            </a:pPr>
            <a:r>
              <a:rPr lang="es-ES_tradnl" sz="1800" dirty="0" smtClean="0"/>
              <a:t>Bogotá, Noviembre  28 y 29 de 2013</a:t>
            </a:r>
            <a:endParaRPr lang="es-CO" sz="1800" dirty="0" smtClean="0"/>
          </a:p>
        </p:txBody>
      </p:sp>
      <p:sp>
        <p:nvSpPr>
          <p:cNvPr id="2" name="Rectangle 7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CO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9"/>
          <p:cNvSpPr>
            <a:spLocks noChangeArrowheads="1"/>
          </p:cNvSpPr>
          <p:nvPr/>
        </p:nvSpPr>
        <p:spPr bwMode="auto">
          <a:xfrm>
            <a:off x="0" y="318135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CO" sz="11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 </a:t>
            </a:r>
            <a:endParaRPr kumimoji="0" lang="es-CO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10"/>
          <p:cNvSpPr>
            <a:spLocks noChangeArrowheads="1"/>
          </p:cNvSpPr>
          <p:nvPr/>
        </p:nvSpPr>
        <p:spPr bwMode="auto">
          <a:xfrm>
            <a:off x="0" y="45339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CO" sz="11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 </a:t>
            </a:r>
            <a:endParaRPr kumimoji="0" lang="es-CO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11"/>
          <p:cNvSpPr>
            <a:spLocks noChangeArrowheads="1"/>
          </p:cNvSpPr>
          <p:nvPr/>
        </p:nvSpPr>
        <p:spPr bwMode="auto">
          <a:xfrm>
            <a:off x="0" y="588645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CO" sz="11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  </a:t>
            </a:r>
            <a:endParaRPr kumimoji="0" lang="es-CO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ectangle 12"/>
          <p:cNvSpPr>
            <a:spLocks noChangeArrowheads="1"/>
          </p:cNvSpPr>
          <p:nvPr/>
        </p:nvSpPr>
        <p:spPr bwMode="auto">
          <a:xfrm>
            <a:off x="0" y="72390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CO" sz="11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 </a:t>
            </a:r>
            <a:endParaRPr kumimoji="0" lang="es-CO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3"/>
          <p:cNvSpPr>
            <a:spLocks noChangeArrowheads="1"/>
          </p:cNvSpPr>
          <p:nvPr/>
        </p:nvSpPr>
        <p:spPr bwMode="auto">
          <a:xfrm>
            <a:off x="0" y="859155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CO" sz="11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   </a:t>
            </a:r>
            <a:endParaRPr kumimoji="0" lang="es-CO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16" name="0 Imagen"/>
          <p:cNvPicPr/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015" y="1412776"/>
            <a:ext cx="1907705" cy="151216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8" name="0 Imagen"/>
          <p:cNvPicPr/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3212976"/>
            <a:ext cx="1907703" cy="134784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9" name="0 Imagen"/>
          <p:cNvPicPr/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4869160"/>
            <a:ext cx="1891070" cy="129614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graphicFrame>
        <p:nvGraphicFramePr>
          <p:cNvPr id="15" name="14 Tabla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2251821023"/>
              </p:ext>
            </p:extLst>
          </p:nvPr>
        </p:nvGraphicFramePr>
        <p:xfrm>
          <a:off x="2483768" y="1916832"/>
          <a:ext cx="6336704" cy="4036388"/>
        </p:xfrm>
        <a:graphic>
          <a:graphicData uri="http://schemas.openxmlformats.org/drawingml/2006/table">
            <a:tbl>
              <a:tblPr firstRow="1" firstCol="1" bandRow="1">
                <a:tableStyleId>{BC89EF96-8CEA-46FF-86C4-4CE0E7609802}</a:tableStyleId>
              </a:tblPr>
              <a:tblGrid>
                <a:gridCol w="1280824"/>
                <a:gridCol w="5055880"/>
              </a:tblGrid>
              <a:tr h="487082"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200"/>
                        </a:spcAft>
                      </a:pPr>
                      <a:r>
                        <a:rPr lang="es-ES_tradnl" sz="1800" kern="1200" dirty="0">
                          <a:solidFill>
                            <a:srgbClr val="CC0000"/>
                          </a:solidFill>
                          <a:effectLst/>
                        </a:rPr>
                        <a:t>¿Qué requiere mejorarse en su Entidad Territorial </a:t>
                      </a:r>
                      <a:r>
                        <a:rPr lang="es-ES_tradnl" sz="1800" kern="1200" dirty="0" smtClean="0">
                          <a:solidFill>
                            <a:srgbClr val="CC0000"/>
                          </a:solidFill>
                          <a:effectLst/>
                        </a:rPr>
                        <a:t> sobre </a:t>
                      </a:r>
                      <a:r>
                        <a:rPr lang="es-ES_tradnl" sz="1800" kern="1200" dirty="0">
                          <a:solidFill>
                            <a:srgbClr val="CC0000"/>
                          </a:solidFill>
                          <a:effectLst/>
                        </a:rPr>
                        <a:t>Formación para el Trabajo?</a:t>
                      </a:r>
                      <a:endParaRPr lang="es-CO" sz="1800" b="0" dirty="0">
                        <a:solidFill>
                          <a:srgbClr val="CC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</a:tr>
              <a:tr h="87133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O" sz="1400" b="1" dirty="0">
                          <a:solidFill>
                            <a:srgbClr val="FFFF00"/>
                          </a:solidFill>
                          <a:effectLst/>
                        </a:rPr>
                        <a:t>ESTRUCTURA ORGANIZATIVA</a:t>
                      </a:r>
                      <a:endParaRPr lang="es-CO" sz="1400" b="1" dirty="0">
                        <a:solidFill>
                          <a:srgbClr val="FFFF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s-ES_tradnl" sz="1400" kern="1200" dirty="0">
                          <a:effectLst/>
                        </a:rPr>
                        <a:t>Fortalecer los equipos de las Secretarías de Educación para atender esta responsabilidad.</a:t>
                      </a:r>
                      <a:endParaRPr lang="es-CO" sz="1400" dirty="0">
                        <a:effectLst/>
                      </a:endParaRP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s-ES_tradnl" sz="1400" kern="1200" dirty="0">
                          <a:effectLst/>
                        </a:rPr>
                        <a:t>Una mayor interacción entre el MEN y la Entidad Territorial</a:t>
                      </a:r>
                      <a:r>
                        <a:rPr lang="es-ES_tradnl" sz="1400" kern="1200" dirty="0" smtClean="0">
                          <a:effectLst/>
                        </a:rPr>
                        <a:t>.</a:t>
                      </a:r>
                      <a:endParaRPr lang="es-CO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</a:tr>
              <a:tr h="65350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O" sz="1400" b="1" dirty="0">
                          <a:solidFill>
                            <a:srgbClr val="FFFF00"/>
                          </a:solidFill>
                          <a:effectLst/>
                        </a:rPr>
                        <a:t>INSPECCION Y VIGILANCIA</a:t>
                      </a:r>
                      <a:endParaRPr lang="es-CO" sz="1400" b="1" dirty="0">
                        <a:solidFill>
                          <a:srgbClr val="FFFF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s-ES_tradnl" sz="1400" kern="1200" dirty="0">
                          <a:effectLst/>
                        </a:rPr>
                        <a:t>Solucionar las debilidades en las áreas de Inspección y Vigilancia y calidad para calificar y acompañar </a:t>
                      </a:r>
                      <a:r>
                        <a:rPr lang="es-ES_tradnl" sz="1400" kern="1200" dirty="0" smtClean="0">
                          <a:effectLst/>
                        </a:rPr>
                        <a:t> a las IFTDH.</a:t>
                      </a:r>
                      <a:endParaRPr lang="es-CO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</a:tr>
              <a:tr h="67526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O" sz="1400" b="1" dirty="0">
                          <a:solidFill>
                            <a:srgbClr val="FFFF00"/>
                          </a:solidFill>
                          <a:effectLst/>
                        </a:rPr>
                        <a:t>RECURSOS FINANCIEROS</a:t>
                      </a:r>
                      <a:endParaRPr lang="es-CO" sz="1400" b="1" dirty="0">
                        <a:solidFill>
                          <a:srgbClr val="FFFF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s-ES_tradnl" sz="1400" kern="1200" dirty="0">
                          <a:effectLst/>
                        </a:rPr>
                        <a:t>Recursos adicionales para atender este compromiso.</a:t>
                      </a:r>
                      <a:endParaRPr lang="es-CO" sz="1400" dirty="0">
                        <a:effectLst/>
                      </a:endParaRP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s-ES_tradnl" sz="1400" kern="1200" dirty="0">
                          <a:effectLst/>
                        </a:rPr>
                        <a:t>Generar los recursos económicos para cofinanciar convenios y alianzas que favorezcan esta </a:t>
                      </a:r>
                      <a:r>
                        <a:rPr lang="es-ES_tradnl" sz="1400" kern="1200" dirty="0" smtClean="0">
                          <a:effectLst/>
                        </a:rPr>
                        <a:t>formación.</a:t>
                      </a:r>
                      <a:endParaRPr lang="es-CO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</a:tr>
              <a:tr h="65350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O" sz="1400" b="1" dirty="0" smtClean="0">
                          <a:solidFill>
                            <a:srgbClr val="FFFF00"/>
                          </a:solidFill>
                          <a:effectLst/>
                        </a:rPr>
                        <a:t>PERTINENCIA </a:t>
                      </a:r>
                      <a:r>
                        <a:rPr lang="es-CO" sz="1400" b="1" dirty="0">
                          <a:solidFill>
                            <a:srgbClr val="FFFF00"/>
                          </a:solidFill>
                          <a:effectLst/>
                        </a:rPr>
                        <a:t>Y MERCADEO</a:t>
                      </a:r>
                      <a:endParaRPr lang="es-CO" sz="1400" b="1" dirty="0">
                        <a:solidFill>
                          <a:srgbClr val="FFFF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s-ES_tradnl" sz="1400" kern="1200" dirty="0" smtClean="0">
                          <a:effectLst/>
                        </a:rPr>
                        <a:t>Realización</a:t>
                      </a:r>
                      <a:r>
                        <a:rPr lang="es-ES_tradnl" sz="1400" kern="1200" baseline="0" dirty="0" smtClean="0">
                          <a:effectLst/>
                        </a:rPr>
                        <a:t> de  </a:t>
                      </a:r>
                      <a:r>
                        <a:rPr lang="es-ES_tradnl" sz="1400" kern="1200" dirty="0" smtClean="0">
                          <a:effectLst/>
                        </a:rPr>
                        <a:t>diagnóstico pertinente.</a:t>
                      </a: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s-ES_tradnl" sz="1400" kern="1200" dirty="0" smtClean="0">
                          <a:effectLst/>
                        </a:rPr>
                        <a:t>Creación </a:t>
                      </a:r>
                      <a:r>
                        <a:rPr lang="es-ES_tradnl" sz="1400" kern="1200" dirty="0">
                          <a:effectLst/>
                        </a:rPr>
                        <a:t>de estrategias de mercado, necesidades y requerimientos</a:t>
                      </a:r>
                      <a:r>
                        <a:rPr lang="es-ES_tradnl" sz="1400" kern="1200" dirty="0" smtClean="0">
                          <a:effectLst/>
                        </a:rPr>
                        <a:t>.</a:t>
                      </a:r>
                      <a:endParaRPr lang="es-CO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</a:tr>
              <a:tr h="43566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O" sz="1400" b="1" dirty="0">
                          <a:solidFill>
                            <a:srgbClr val="FFFF00"/>
                          </a:solidFill>
                          <a:effectLst/>
                        </a:rPr>
                        <a:t>INCENTIVOS</a:t>
                      </a:r>
                      <a:endParaRPr lang="es-CO" sz="1400" b="1" dirty="0">
                        <a:solidFill>
                          <a:srgbClr val="FFFF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s-ES_tradnl" sz="1400" kern="1200" dirty="0">
                          <a:effectLst/>
                        </a:rPr>
                        <a:t>Estímulos a los estudiantes que participan en este tipo de formación</a:t>
                      </a:r>
                      <a:r>
                        <a:rPr lang="es-ES_tradnl" sz="1400" kern="1200" dirty="0" smtClean="0">
                          <a:effectLst/>
                        </a:rPr>
                        <a:t>.</a:t>
                      </a:r>
                      <a:endParaRPr lang="es-CO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398231857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3 Imagen" descr="mapa-colombia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7784" y="980728"/>
            <a:ext cx="4349836" cy="5545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2" name="61 Grupo"/>
          <p:cNvGrpSpPr/>
          <p:nvPr/>
        </p:nvGrpSpPr>
        <p:grpSpPr>
          <a:xfrm>
            <a:off x="609545" y="1268760"/>
            <a:ext cx="2090247" cy="379789"/>
            <a:chOff x="3474154" y="433115"/>
            <a:chExt cx="1586191" cy="379789"/>
          </a:xfrm>
        </p:grpSpPr>
        <p:sp>
          <p:nvSpPr>
            <p:cNvPr id="63" name="62 Rectángulo"/>
            <p:cNvSpPr/>
            <p:nvPr/>
          </p:nvSpPr>
          <p:spPr>
            <a:xfrm>
              <a:off x="3474154" y="433115"/>
              <a:ext cx="1586191" cy="379789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64" name="63 Rectángulo"/>
            <p:cNvSpPr/>
            <p:nvPr/>
          </p:nvSpPr>
          <p:spPr>
            <a:xfrm>
              <a:off x="3474154" y="433115"/>
              <a:ext cx="1586191" cy="37978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CO" sz="1400" b="1" kern="1200" dirty="0" smtClean="0">
                  <a:solidFill>
                    <a:srgbClr val="C00000"/>
                  </a:solidFill>
                </a:rPr>
                <a:t>Talleres Regionales Evaluación de programas , SIET</a:t>
              </a:r>
              <a:endParaRPr lang="es-CO" sz="1400" b="1" kern="1200" dirty="0">
                <a:solidFill>
                  <a:srgbClr val="C00000"/>
                </a:solidFill>
              </a:endParaRPr>
            </a:p>
          </p:txBody>
        </p:sp>
      </p:grpSp>
      <p:sp>
        <p:nvSpPr>
          <p:cNvPr id="6" name="5 CuadroTexto"/>
          <p:cNvSpPr txBox="1"/>
          <p:nvPr/>
        </p:nvSpPr>
        <p:spPr>
          <a:xfrm>
            <a:off x="6427148" y="1157843"/>
            <a:ext cx="318541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285750">
              <a:buFont typeface="Arial" pitchFamily="34" charset="0"/>
              <a:buChar char="•"/>
            </a:pPr>
            <a:r>
              <a:rPr lang="es-CO" sz="1200" dirty="0" smtClean="0">
                <a:solidFill>
                  <a:schemeClr val="tx2">
                    <a:lumMod val="50000"/>
                  </a:schemeClr>
                </a:solidFill>
              </a:rPr>
              <a:t>Santa Marta (Junio) - 100</a:t>
            </a:r>
          </a:p>
          <a:p>
            <a:pPr indent="-285750">
              <a:buFont typeface="Arial" pitchFamily="34" charset="0"/>
              <a:buChar char="•"/>
            </a:pPr>
            <a:r>
              <a:rPr lang="es-CO" sz="1200" dirty="0">
                <a:solidFill>
                  <a:schemeClr val="tx2">
                    <a:lumMod val="50000"/>
                  </a:schemeClr>
                </a:solidFill>
              </a:rPr>
              <a:t>Cali (Agosto) - 100</a:t>
            </a:r>
          </a:p>
          <a:p>
            <a:pPr indent="-285750">
              <a:buFont typeface="Arial" pitchFamily="34" charset="0"/>
              <a:buChar char="•"/>
            </a:pPr>
            <a:r>
              <a:rPr lang="es-CO" sz="1200" dirty="0">
                <a:solidFill>
                  <a:schemeClr val="tx2">
                    <a:lumMod val="50000"/>
                  </a:schemeClr>
                </a:solidFill>
              </a:rPr>
              <a:t>Barranquilla  (Agosto) - 48</a:t>
            </a:r>
          </a:p>
          <a:p>
            <a:pPr indent="-285750">
              <a:buFont typeface="Arial" pitchFamily="34" charset="0"/>
              <a:buChar char="•"/>
            </a:pPr>
            <a:r>
              <a:rPr lang="es-CO" sz="1200" dirty="0">
                <a:solidFill>
                  <a:schemeClr val="tx2">
                    <a:lumMod val="50000"/>
                  </a:schemeClr>
                </a:solidFill>
              </a:rPr>
              <a:t>Bogotá (Septiembre) - 60</a:t>
            </a:r>
          </a:p>
        </p:txBody>
      </p:sp>
      <p:grpSp>
        <p:nvGrpSpPr>
          <p:cNvPr id="7" name="6 Grupo"/>
          <p:cNvGrpSpPr/>
          <p:nvPr/>
        </p:nvGrpSpPr>
        <p:grpSpPr>
          <a:xfrm>
            <a:off x="35496" y="2132856"/>
            <a:ext cx="2880320" cy="425912"/>
            <a:chOff x="2702430" y="1053432"/>
            <a:chExt cx="2880320" cy="425912"/>
          </a:xfrm>
        </p:grpSpPr>
        <p:sp>
          <p:nvSpPr>
            <p:cNvPr id="8" name="7 Rectángulo"/>
            <p:cNvSpPr/>
            <p:nvPr/>
          </p:nvSpPr>
          <p:spPr>
            <a:xfrm>
              <a:off x="2702430" y="1197448"/>
              <a:ext cx="2436705" cy="281896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9" name="8 Rectángulo"/>
            <p:cNvSpPr/>
            <p:nvPr/>
          </p:nvSpPr>
          <p:spPr>
            <a:xfrm>
              <a:off x="3146045" y="1053432"/>
              <a:ext cx="2436705" cy="28189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CO" sz="1400" b="1" kern="1200" dirty="0" smtClean="0">
                  <a:solidFill>
                    <a:srgbClr val="C00000"/>
                  </a:solidFill>
                </a:rPr>
                <a:t>Taller INTEGRAL  Gestión de ETDH Entidades Territoriales</a:t>
              </a:r>
              <a:endParaRPr lang="es-CO" sz="1400" b="1" kern="1200" dirty="0">
                <a:solidFill>
                  <a:srgbClr val="C00000"/>
                </a:solidFill>
              </a:endParaRPr>
            </a:p>
          </p:txBody>
        </p:sp>
      </p:grpSp>
      <p:sp>
        <p:nvSpPr>
          <p:cNvPr id="10" name="9 CuadroTexto"/>
          <p:cNvSpPr txBox="1"/>
          <p:nvPr/>
        </p:nvSpPr>
        <p:spPr>
          <a:xfrm>
            <a:off x="6499156" y="2132856"/>
            <a:ext cx="1872208" cy="276999"/>
          </a:xfrm>
          <a:prstGeom prst="rect">
            <a:avLst/>
          </a:prstGeom>
          <a:solidFill>
            <a:srgbClr val="00CC99"/>
          </a:solidFill>
        </p:spPr>
        <p:txBody>
          <a:bodyPr wrap="square" rtlCol="0">
            <a:spAutoFit/>
          </a:bodyPr>
          <a:lstStyle/>
          <a:p>
            <a:pPr indent="-285750">
              <a:buFont typeface="Arial" pitchFamily="34" charset="0"/>
              <a:buChar char="•"/>
            </a:pPr>
            <a:r>
              <a:rPr lang="es-CO" sz="1200" dirty="0" smtClean="0">
                <a:solidFill>
                  <a:schemeClr val="tx2">
                    <a:lumMod val="50000"/>
                  </a:schemeClr>
                </a:solidFill>
              </a:rPr>
              <a:t>Paipa (Junio) - 200</a:t>
            </a:r>
            <a:endParaRPr lang="es-CO" sz="1200" dirty="0">
              <a:solidFill>
                <a:schemeClr val="tx2">
                  <a:lumMod val="50000"/>
                </a:schemeClr>
              </a:solidFill>
            </a:endParaRPr>
          </a:p>
        </p:txBody>
      </p:sp>
      <p:grpSp>
        <p:nvGrpSpPr>
          <p:cNvPr id="11" name="10 Grupo"/>
          <p:cNvGrpSpPr/>
          <p:nvPr/>
        </p:nvGrpSpPr>
        <p:grpSpPr>
          <a:xfrm>
            <a:off x="819742" y="2924944"/>
            <a:ext cx="1952058" cy="270841"/>
            <a:chOff x="3291221" y="1917890"/>
            <a:chExt cx="1952058" cy="270841"/>
          </a:xfrm>
        </p:grpSpPr>
        <p:sp>
          <p:nvSpPr>
            <p:cNvPr id="12" name="11 Rectángulo"/>
            <p:cNvSpPr/>
            <p:nvPr/>
          </p:nvSpPr>
          <p:spPr>
            <a:xfrm>
              <a:off x="3291221" y="1917890"/>
              <a:ext cx="1952058" cy="270841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3" name="12 Rectángulo"/>
            <p:cNvSpPr/>
            <p:nvPr/>
          </p:nvSpPr>
          <p:spPr>
            <a:xfrm>
              <a:off x="3291221" y="1917890"/>
              <a:ext cx="1952058" cy="27084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CO" sz="1400" b="1" kern="1200" dirty="0" smtClean="0">
                  <a:solidFill>
                    <a:srgbClr val="C00000"/>
                  </a:solidFill>
                </a:rPr>
                <a:t>Taller Auditores Internos de Calidad</a:t>
              </a:r>
              <a:endParaRPr lang="es-CO" sz="1400" b="1" kern="1200" dirty="0">
                <a:solidFill>
                  <a:srgbClr val="C00000"/>
                </a:solidFill>
              </a:endParaRPr>
            </a:p>
          </p:txBody>
        </p:sp>
      </p:grpSp>
      <p:sp>
        <p:nvSpPr>
          <p:cNvPr id="14" name="13 CuadroTexto"/>
          <p:cNvSpPr txBox="1"/>
          <p:nvPr/>
        </p:nvSpPr>
        <p:spPr>
          <a:xfrm>
            <a:off x="6499156" y="2780928"/>
            <a:ext cx="1944216" cy="288032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/>
          <a:p>
            <a:pPr indent="-285750">
              <a:buFont typeface="Arial" pitchFamily="34" charset="0"/>
              <a:buChar char="•"/>
            </a:pPr>
            <a:r>
              <a:rPr lang="es-CO" sz="1200" dirty="0" smtClean="0">
                <a:solidFill>
                  <a:schemeClr val="tx2">
                    <a:lumMod val="50000"/>
                  </a:schemeClr>
                </a:solidFill>
              </a:rPr>
              <a:t>Bogotá (Julio) - 42</a:t>
            </a:r>
            <a:endParaRPr lang="es-CO" sz="1200" dirty="0">
              <a:solidFill>
                <a:schemeClr val="tx2">
                  <a:lumMod val="50000"/>
                </a:schemeClr>
              </a:solidFill>
            </a:endParaRPr>
          </a:p>
        </p:txBody>
      </p:sp>
      <p:grpSp>
        <p:nvGrpSpPr>
          <p:cNvPr id="15" name="14 Grupo"/>
          <p:cNvGrpSpPr/>
          <p:nvPr/>
        </p:nvGrpSpPr>
        <p:grpSpPr>
          <a:xfrm>
            <a:off x="258827" y="3429000"/>
            <a:ext cx="2440965" cy="648072"/>
            <a:chOff x="3024337" y="2494769"/>
            <a:chExt cx="2440965" cy="648072"/>
          </a:xfrm>
        </p:grpSpPr>
        <p:sp>
          <p:nvSpPr>
            <p:cNvPr id="16" name="15 Rectángulo"/>
            <p:cNvSpPr/>
            <p:nvPr/>
          </p:nvSpPr>
          <p:spPr>
            <a:xfrm>
              <a:off x="3024337" y="2494769"/>
              <a:ext cx="1792893" cy="547857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7" name="16 Rectángulo"/>
            <p:cNvSpPr/>
            <p:nvPr/>
          </p:nvSpPr>
          <p:spPr>
            <a:xfrm>
              <a:off x="3672409" y="2594984"/>
              <a:ext cx="1792893" cy="54785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CO" sz="1400" b="1" kern="1200" dirty="0" smtClean="0">
                  <a:solidFill>
                    <a:srgbClr val="C00000"/>
                  </a:solidFill>
                </a:rPr>
                <a:t>Taller Regional Diseño Curricular y  Modelo Aseguramiento de Calidad</a:t>
              </a:r>
              <a:endParaRPr lang="es-CO" sz="1400" b="1" kern="1200" dirty="0">
                <a:solidFill>
                  <a:srgbClr val="C00000"/>
                </a:solidFill>
              </a:endParaRPr>
            </a:p>
          </p:txBody>
        </p:sp>
      </p:grpSp>
      <p:sp>
        <p:nvSpPr>
          <p:cNvPr id="18" name="17 CuadroTexto"/>
          <p:cNvSpPr txBox="1"/>
          <p:nvPr/>
        </p:nvSpPr>
        <p:spPr>
          <a:xfrm>
            <a:off x="6499156" y="3284984"/>
            <a:ext cx="280831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285750">
              <a:buFont typeface="Arial" pitchFamily="34" charset="0"/>
              <a:buChar char="•"/>
            </a:pPr>
            <a:r>
              <a:rPr lang="es-CO" sz="1200" dirty="0" smtClean="0">
                <a:solidFill>
                  <a:schemeClr val="tx2">
                    <a:lumMod val="50000"/>
                  </a:schemeClr>
                </a:solidFill>
              </a:rPr>
              <a:t>Valledupar (septiembre) -100</a:t>
            </a:r>
          </a:p>
          <a:p>
            <a:pPr indent="-285750">
              <a:buFont typeface="Arial" pitchFamily="34" charset="0"/>
              <a:buChar char="•"/>
            </a:pPr>
            <a:r>
              <a:rPr lang="es-CO" sz="1200" dirty="0" smtClean="0">
                <a:solidFill>
                  <a:schemeClr val="tx2">
                    <a:lumMod val="50000"/>
                  </a:schemeClr>
                </a:solidFill>
              </a:rPr>
              <a:t>Villavicencio (Septiembre) - 150 </a:t>
            </a:r>
          </a:p>
          <a:p>
            <a:pPr indent="-285750">
              <a:buFont typeface="Arial" pitchFamily="34" charset="0"/>
              <a:buChar char="•"/>
            </a:pPr>
            <a:r>
              <a:rPr lang="es-CO" sz="1200" dirty="0" smtClean="0">
                <a:solidFill>
                  <a:schemeClr val="tx2">
                    <a:lumMod val="50000"/>
                  </a:schemeClr>
                </a:solidFill>
              </a:rPr>
              <a:t>Bogotá  (Octubre) - 150</a:t>
            </a:r>
          </a:p>
          <a:p>
            <a:pPr indent="-285750">
              <a:buFont typeface="Arial" pitchFamily="34" charset="0"/>
              <a:buChar char="•"/>
            </a:pPr>
            <a:r>
              <a:rPr lang="es-CO" sz="1200" dirty="0" smtClean="0">
                <a:solidFill>
                  <a:schemeClr val="tx2">
                    <a:lumMod val="50000"/>
                  </a:schemeClr>
                </a:solidFill>
              </a:rPr>
              <a:t>Medellín (Noviembre) - 150</a:t>
            </a:r>
            <a:endParaRPr lang="es-CO" sz="1200" dirty="0">
              <a:solidFill>
                <a:schemeClr val="tx2">
                  <a:lumMod val="50000"/>
                </a:schemeClr>
              </a:solidFill>
            </a:endParaRPr>
          </a:p>
        </p:txBody>
      </p:sp>
      <p:grpSp>
        <p:nvGrpSpPr>
          <p:cNvPr id="19" name="18 Grupo"/>
          <p:cNvGrpSpPr/>
          <p:nvPr/>
        </p:nvGrpSpPr>
        <p:grpSpPr>
          <a:xfrm>
            <a:off x="865136" y="4306783"/>
            <a:ext cx="1834656" cy="490369"/>
            <a:chOff x="3349921" y="3309963"/>
            <a:chExt cx="1834656" cy="490369"/>
          </a:xfrm>
        </p:grpSpPr>
        <p:sp>
          <p:nvSpPr>
            <p:cNvPr id="20" name="19 Rectángulo"/>
            <p:cNvSpPr/>
            <p:nvPr/>
          </p:nvSpPr>
          <p:spPr>
            <a:xfrm>
              <a:off x="3349921" y="3309963"/>
              <a:ext cx="1834656" cy="346353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1" name="20 Rectángulo"/>
            <p:cNvSpPr/>
            <p:nvPr/>
          </p:nvSpPr>
          <p:spPr>
            <a:xfrm>
              <a:off x="3349921" y="3453979"/>
              <a:ext cx="1834656" cy="34635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CO" sz="1400" b="1" kern="1200" dirty="0" smtClean="0">
                  <a:solidFill>
                    <a:srgbClr val="C00000"/>
                  </a:solidFill>
                </a:rPr>
                <a:t>Taller de implementación sistema de Gestión de Calidad</a:t>
              </a:r>
              <a:endParaRPr lang="es-CO" sz="1400" b="1" kern="1200" dirty="0">
                <a:solidFill>
                  <a:srgbClr val="C00000"/>
                </a:solidFill>
              </a:endParaRPr>
            </a:p>
          </p:txBody>
        </p:sp>
      </p:grpSp>
      <p:sp>
        <p:nvSpPr>
          <p:cNvPr id="22" name="21 CuadroTexto"/>
          <p:cNvSpPr txBox="1"/>
          <p:nvPr/>
        </p:nvSpPr>
        <p:spPr>
          <a:xfrm>
            <a:off x="6499963" y="4293096"/>
            <a:ext cx="2735497" cy="461665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txBody>
          <a:bodyPr wrap="square" rtlCol="0">
            <a:spAutoFit/>
          </a:bodyPr>
          <a:lstStyle/>
          <a:p>
            <a:pPr indent="-285750">
              <a:buFont typeface="Arial" pitchFamily="34" charset="0"/>
              <a:buChar char="•"/>
            </a:pPr>
            <a:r>
              <a:rPr lang="es-CO" sz="1200" dirty="0">
                <a:solidFill>
                  <a:schemeClr val="tx2">
                    <a:lumMod val="50000"/>
                  </a:schemeClr>
                </a:solidFill>
              </a:rPr>
              <a:t>Cali (Julio) - 40</a:t>
            </a:r>
          </a:p>
          <a:p>
            <a:pPr indent="-285750">
              <a:buFont typeface="Arial" pitchFamily="34" charset="0"/>
              <a:buChar char="•"/>
            </a:pPr>
            <a:r>
              <a:rPr lang="es-CO" sz="1200" dirty="0">
                <a:solidFill>
                  <a:schemeClr val="tx2">
                    <a:lumMod val="50000"/>
                  </a:schemeClr>
                </a:solidFill>
              </a:rPr>
              <a:t>Medellín (septiembre) - 40</a:t>
            </a:r>
          </a:p>
        </p:txBody>
      </p:sp>
      <p:grpSp>
        <p:nvGrpSpPr>
          <p:cNvPr id="23" name="22 Grupo"/>
          <p:cNvGrpSpPr/>
          <p:nvPr/>
        </p:nvGrpSpPr>
        <p:grpSpPr>
          <a:xfrm>
            <a:off x="820275" y="4948712"/>
            <a:ext cx="1879517" cy="712536"/>
            <a:chOff x="3089037" y="3986274"/>
            <a:chExt cx="1879517" cy="712536"/>
          </a:xfrm>
        </p:grpSpPr>
        <p:sp>
          <p:nvSpPr>
            <p:cNvPr id="24" name="23 Rectángulo"/>
            <p:cNvSpPr/>
            <p:nvPr/>
          </p:nvSpPr>
          <p:spPr>
            <a:xfrm>
              <a:off x="3089037" y="3986274"/>
              <a:ext cx="1663493" cy="424504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5" name="24 Rectángulo"/>
            <p:cNvSpPr/>
            <p:nvPr/>
          </p:nvSpPr>
          <p:spPr>
            <a:xfrm>
              <a:off x="3305061" y="4274306"/>
              <a:ext cx="1663493" cy="4245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CO" sz="1400" b="1" kern="1200" dirty="0" smtClean="0">
                  <a:solidFill>
                    <a:srgbClr val="C00000"/>
                  </a:solidFill>
                </a:rPr>
                <a:t>Foro Sistema de Aseguramiento de Calidad  FT</a:t>
              </a:r>
              <a:endParaRPr lang="es-CO" sz="1400" b="1" kern="1200" dirty="0">
                <a:solidFill>
                  <a:srgbClr val="C00000"/>
                </a:solidFill>
              </a:endParaRPr>
            </a:p>
          </p:txBody>
        </p:sp>
      </p:grpSp>
      <p:sp>
        <p:nvSpPr>
          <p:cNvPr id="26" name="25 CuadroTexto"/>
          <p:cNvSpPr txBox="1"/>
          <p:nvPr/>
        </p:nvSpPr>
        <p:spPr>
          <a:xfrm>
            <a:off x="6516216" y="5013176"/>
            <a:ext cx="2520280" cy="276999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marL="171450" indent="-171450">
              <a:buFont typeface="Arial" pitchFamily="34" charset="0"/>
              <a:buChar char="•"/>
            </a:pPr>
            <a:r>
              <a:rPr lang="es-CO" sz="1200" dirty="0" smtClean="0">
                <a:solidFill>
                  <a:schemeClr val="tx2">
                    <a:lumMod val="50000"/>
                  </a:schemeClr>
                </a:solidFill>
              </a:rPr>
              <a:t>Cartagena (</a:t>
            </a:r>
            <a:r>
              <a:rPr lang="es-CO" sz="1200" dirty="0" err="1" smtClean="0">
                <a:solidFill>
                  <a:schemeClr val="tx2">
                    <a:lumMod val="50000"/>
                  </a:schemeClr>
                </a:solidFill>
              </a:rPr>
              <a:t>Dcieembre</a:t>
            </a:r>
            <a:r>
              <a:rPr lang="es-CO" sz="1200" dirty="0" smtClean="0">
                <a:solidFill>
                  <a:schemeClr val="tx2">
                    <a:lumMod val="50000"/>
                  </a:schemeClr>
                </a:solidFill>
              </a:rPr>
              <a:t>) - 300</a:t>
            </a:r>
            <a:endParaRPr lang="es-CO" sz="1200" dirty="0">
              <a:solidFill>
                <a:schemeClr val="tx2">
                  <a:lumMod val="50000"/>
                </a:schemeClr>
              </a:solidFill>
            </a:endParaRPr>
          </a:p>
        </p:txBody>
      </p:sp>
      <p:grpSp>
        <p:nvGrpSpPr>
          <p:cNvPr id="29" name="28 Grupo"/>
          <p:cNvGrpSpPr/>
          <p:nvPr/>
        </p:nvGrpSpPr>
        <p:grpSpPr>
          <a:xfrm>
            <a:off x="827584" y="5661248"/>
            <a:ext cx="2088232" cy="640528"/>
            <a:chOff x="3089037" y="3986274"/>
            <a:chExt cx="1879517" cy="712536"/>
          </a:xfrm>
        </p:grpSpPr>
        <p:sp>
          <p:nvSpPr>
            <p:cNvPr id="30" name="29 Rectángulo"/>
            <p:cNvSpPr/>
            <p:nvPr/>
          </p:nvSpPr>
          <p:spPr>
            <a:xfrm>
              <a:off x="3089037" y="3986274"/>
              <a:ext cx="1663493" cy="424504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1" name="30 Rectángulo"/>
            <p:cNvSpPr/>
            <p:nvPr/>
          </p:nvSpPr>
          <p:spPr>
            <a:xfrm>
              <a:off x="3305061" y="4274306"/>
              <a:ext cx="1663493" cy="4245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CO" sz="1400" b="1" kern="1200" dirty="0" smtClean="0">
                  <a:solidFill>
                    <a:srgbClr val="C00000"/>
                  </a:solidFill>
                </a:rPr>
                <a:t>Travesías</a:t>
              </a:r>
              <a:endParaRPr lang="es-CO" sz="1400" b="1" kern="1200" dirty="0">
                <a:solidFill>
                  <a:srgbClr val="C00000"/>
                </a:solidFill>
              </a:endParaRPr>
            </a:p>
          </p:txBody>
        </p:sp>
      </p:grpSp>
      <p:sp>
        <p:nvSpPr>
          <p:cNvPr id="32" name="31 CuadroTexto"/>
          <p:cNvSpPr txBox="1"/>
          <p:nvPr/>
        </p:nvSpPr>
        <p:spPr>
          <a:xfrm>
            <a:off x="6444208" y="5301208"/>
            <a:ext cx="165618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285750">
              <a:buFont typeface="Arial" pitchFamily="34" charset="0"/>
              <a:buChar char="•"/>
            </a:pPr>
            <a:r>
              <a:rPr lang="es-CO" sz="1200" dirty="0" smtClean="0">
                <a:solidFill>
                  <a:schemeClr val="tx2">
                    <a:lumMod val="50000"/>
                  </a:schemeClr>
                </a:solidFill>
              </a:rPr>
              <a:t>Montería </a:t>
            </a:r>
          </a:p>
          <a:p>
            <a:pPr indent="-285750">
              <a:buFont typeface="Arial" pitchFamily="34" charset="0"/>
              <a:buChar char="•"/>
            </a:pPr>
            <a:r>
              <a:rPr lang="es-CO" sz="1200" dirty="0" smtClean="0">
                <a:solidFill>
                  <a:schemeClr val="tx2">
                    <a:lumMod val="50000"/>
                  </a:schemeClr>
                </a:solidFill>
              </a:rPr>
              <a:t>San Andrés  </a:t>
            </a:r>
          </a:p>
          <a:p>
            <a:pPr indent="-285750">
              <a:buFont typeface="Arial" pitchFamily="34" charset="0"/>
              <a:buChar char="•"/>
            </a:pPr>
            <a:r>
              <a:rPr lang="es-CO" sz="1200" dirty="0" smtClean="0">
                <a:solidFill>
                  <a:schemeClr val="tx2">
                    <a:lumMod val="50000"/>
                  </a:schemeClr>
                </a:solidFill>
              </a:rPr>
              <a:t>Bucaramanga</a:t>
            </a:r>
          </a:p>
          <a:p>
            <a:pPr indent="-285750">
              <a:buFont typeface="Arial" pitchFamily="34" charset="0"/>
              <a:buChar char="•"/>
            </a:pPr>
            <a:r>
              <a:rPr lang="es-CO" sz="1200" dirty="0" smtClean="0">
                <a:solidFill>
                  <a:schemeClr val="tx2">
                    <a:lumMod val="50000"/>
                  </a:schemeClr>
                </a:solidFill>
              </a:rPr>
              <a:t>Cartagena</a:t>
            </a:r>
            <a:endParaRPr lang="es-CO" sz="1200" dirty="0">
              <a:solidFill>
                <a:schemeClr val="tx2">
                  <a:lumMod val="50000"/>
                </a:schemeClr>
              </a:solidFill>
            </a:endParaRPr>
          </a:p>
          <a:p>
            <a:pPr indent="-285750">
              <a:buFont typeface="Arial" pitchFamily="34" charset="0"/>
              <a:buChar char="•"/>
            </a:pPr>
            <a:r>
              <a:rPr lang="es-CO" sz="1200" dirty="0" smtClean="0">
                <a:solidFill>
                  <a:schemeClr val="tx2">
                    <a:lumMod val="50000"/>
                  </a:schemeClr>
                </a:solidFill>
              </a:rPr>
              <a:t>Cali</a:t>
            </a:r>
          </a:p>
        </p:txBody>
      </p:sp>
      <p:sp>
        <p:nvSpPr>
          <p:cNvPr id="33" name="32 CuadroTexto"/>
          <p:cNvSpPr txBox="1"/>
          <p:nvPr/>
        </p:nvSpPr>
        <p:spPr>
          <a:xfrm>
            <a:off x="7884368" y="5301208"/>
            <a:ext cx="165618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-285750">
              <a:buFont typeface="Arial" pitchFamily="34" charset="0"/>
              <a:buChar char="•"/>
            </a:pPr>
            <a:r>
              <a:rPr lang="es-CO" sz="1200" dirty="0" smtClean="0">
                <a:solidFill>
                  <a:schemeClr val="tx2">
                    <a:lumMod val="50000"/>
                  </a:schemeClr>
                </a:solidFill>
              </a:rPr>
              <a:t>Pereira</a:t>
            </a:r>
          </a:p>
          <a:p>
            <a:pPr indent="-285750">
              <a:buFont typeface="Arial" pitchFamily="34" charset="0"/>
              <a:buChar char="•"/>
            </a:pPr>
            <a:r>
              <a:rPr lang="es-CO" sz="1200" dirty="0" smtClean="0">
                <a:solidFill>
                  <a:schemeClr val="tx2">
                    <a:lumMod val="50000"/>
                  </a:schemeClr>
                </a:solidFill>
              </a:rPr>
              <a:t>Ibagué</a:t>
            </a:r>
          </a:p>
          <a:p>
            <a:pPr indent="-285750">
              <a:buFont typeface="Arial" pitchFamily="34" charset="0"/>
              <a:buChar char="•"/>
            </a:pPr>
            <a:r>
              <a:rPr lang="es-CO" sz="1200" dirty="0" smtClean="0">
                <a:solidFill>
                  <a:schemeClr val="tx2">
                    <a:lumMod val="50000"/>
                  </a:schemeClr>
                </a:solidFill>
              </a:rPr>
              <a:t>Popayán</a:t>
            </a:r>
          </a:p>
          <a:p>
            <a:pPr indent="-285750">
              <a:buFont typeface="Arial" pitchFamily="34" charset="0"/>
              <a:buChar char="•"/>
            </a:pPr>
            <a:r>
              <a:rPr lang="es-CO" sz="1200" dirty="0" smtClean="0">
                <a:solidFill>
                  <a:schemeClr val="tx2">
                    <a:lumMod val="50000"/>
                  </a:schemeClr>
                </a:solidFill>
              </a:rPr>
              <a:t>Barranquilla</a:t>
            </a:r>
          </a:p>
          <a:p>
            <a:pPr indent="-285750">
              <a:buFont typeface="Arial" pitchFamily="34" charset="0"/>
              <a:buChar char="•"/>
            </a:pPr>
            <a:endParaRPr lang="es-CO" sz="12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5" name="1 Título"/>
          <p:cNvSpPr txBox="1">
            <a:spLocks/>
          </p:cNvSpPr>
          <p:nvPr/>
        </p:nvSpPr>
        <p:spPr bwMode="auto">
          <a:xfrm>
            <a:off x="4716016" y="44624"/>
            <a:ext cx="4427984" cy="7439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defPPr>
              <a:defRPr lang="en-US"/>
            </a:defPPr>
            <a:lvl1pPr marL="342900" indent="-342900" algn="ctr" eaLnBrk="0" hangingPunct="0">
              <a:spcBef>
                <a:spcPct val="20000"/>
              </a:spcBef>
              <a:defRPr i="1" ker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s-ES_tradnl" dirty="0" smtClean="0"/>
              <a:t>Otros eventos de socialización y asistencia técnica</a:t>
            </a:r>
            <a:endParaRPr lang="es-CO" dirty="0" smtClean="0"/>
          </a:p>
        </p:txBody>
      </p:sp>
    </p:spTree>
    <p:extLst>
      <p:ext uri="{BB962C8B-B14F-4D97-AF65-F5344CB8AC3E}">
        <p14:creationId xmlns="" xmlns:p14="http://schemas.microsoft.com/office/powerpoint/2010/main" val="36341388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1 Título"/>
          <p:cNvSpPr txBox="1">
            <a:spLocks/>
          </p:cNvSpPr>
          <p:nvPr/>
        </p:nvSpPr>
        <p:spPr bwMode="auto">
          <a:xfrm>
            <a:off x="4644008" y="213000"/>
            <a:ext cx="4499992" cy="792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defPPr>
              <a:defRPr lang="en-US"/>
            </a:defPPr>
            <a:lvl1pPr marL="342900" indent="-342900" algn="ctr" eaLnBrk="0" hangingPunct="0">
              <a:spcBef>
                <a:spcPct val="20000"/>
              </a:spcBef>
              <a:defRPr i="1" ker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s-ES_tradnl" sz="1600" dirty="0"/>
              <a:t>TALLER </a:t>
            </a:r>
            <a:endParaRPr lang="es-ES_tradnl" sz="1600" dirty="0" smtClean="0"/>
          </a:p>
          <a:p>
            <a:pPr>
              <a:defRPr/>
            </a:pPr>
            <a:r>
              <a:rPr lang="es-ES_tradnl" sz="1600" dirty="0" smtClean="0"/>
              <a:t>Modelo del Sistema de </a:t>
            </a:r>
            <a:r>
              <a:rPr lang="es-ES_tradnl" sz="1600" dirty="0"/>
              <a:t>Aseguramiento de la Calidad </a:t>
            </a:r>
            <a:r>
              <a:rPr lang="es-ES_tradnl" sz="1600" dirty="0" smtClean="0"/>
              <a:t> de la Educación para el Trabajo - SACET </a:t>
            </a:r>
            <a:endParaRPr lang="es-CO" sz="1600" dirty="0" smtClean="0"/>
          </a:p>
        </p:txBody>
      </p:sp>
      <p:sp>
        <p:nvSpPr>
          <p:cNvPr id="2" name="Rectangle 7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s-CO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Rectangle 9"/>
          <p:cNvSpPr>
            <a:spLocks noChangeArrowheads="1"/>
          </p:cNvSpPr>
          <p:nvPr/>
        </p:nvSpPr>
        <p:spPr bwMode="auto">
          <a:xfrm>
            <a:off x="0" y="318135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CO" sz="11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 </a:t>
            </a:r>
            <a:endParaRPr kumimoji="0" lang="es-CO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tangle 10"/>
          <p:cNvSpPr>
            <a:spLocks noChangeArrowheads="1"/>
          </p:cNvSpPr>
          <p:nvPr/>
        </p:nvSpPr>
        <p:spPr bwMode="auto">
          <a:xfrm>
            <a:off x="0" y="45339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CO" sz="11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 </a:t>
            </a:r>
            <a:endParaRPr kumimoji="0" lang="es-CO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11"/>
          <p:cNvSpPr>
            <a:spLocks noChangeArrowheads="1"/>
          </p:cNvSpPr>
          <p:nvPr/>
        </p:nvSpPr>
        <p:spPr bwMode="auto">
          <a:xfrm>
            <a:off x="0" y="588645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CO" sz="11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  </a:t>
            </a:r>
            <a:endParaRPr kumimoji="0" lang="es-CO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Rectangle 12"/>
          <p:cNvSpPr>
            <a:spLocks noChangeArrowheads="1"/>
          </p:cNvSpPr>
          <p:nvPr/>
        </p:nvSpPr>
        <p:spPr bwMode="auto">
          <a:xfrm>
            <a:off x="0" y="72390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CO" sz="11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 </a:t>
            </a:r>
            <a:endParaRPr kumimoji="0" lang="es-CO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2" name="Rectangle 13"/>
          <p:cNvSpPr>
            <a:spLocks noChangeArrowheads="1"/>
          </p:cNvSpPr>
          <p:nvPr/>
        </p:nvSpPr>
        <p:spPr bwMode="auto">
          <a:xfrm>
            <a:off x="0" y="859155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s-CO" sz="11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   </a:t>
            </a:r>
            <a:endParaRPr kumimoji="0" lang="es-CO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15" name="14 Tabla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1321351257"/>
              </p:ext>
            </p:extLst>
          </p:nvPr>
        </p:nvGraphicFramePr>
        <p:xfrm>
          <a:off x="2267744" y="1556792"/>
          <a:ext cx="6768752" cy="4904232"/>
        </p:xfrm>
        <a:graphic>
          <a:graphicData uri="http://schemas.openxmlformats.org/drawingml/2006/table">
            <a:tbl>
              <a:tblPr firstRow="1" firstCol="1" bandRow="1">
                <a:tableStyleId>{BC89EF96-8CEA-46FF-86C4-4CE0E7609802}</a:tableStyleId>
              </a:tblPr>
              <a:tblGrid>
                <a:gridCol w="1368152"/>
                <a:gridCol w="5400600"/>
              </a:tblGrid>
              <a:tr h="470263">
                <a:tc gridSpan="2"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1200"/>
                        </a:spcAft>
                      </a:pPr>
                      <a:r>
                        <a:rPr lang="es-ES_tradnl" sz="1600" kern="1200" dirty="0" smtClean="0">
                          <a:solidFill>
                            <a:srgbClr val="CC0000"/>
                          </a:solidFill>
                          <a:effectLst/>
                        </a:rPr>
                        <a:t>Se analizó</a:t>
                      </a:r>
                      <a:r>
                        <a:rPr lang="es-ES_tradnl" sz="1600" kern="1200" baseline="0" dirty="0" smtClean="0">
                          <a:solidFill>
                            <a:srgbClr val="CC0000"/>
                          </a:solidFill>
                          <a:effectLst/>
                        </a:rPr>
                        <a:t> con un grupo representativo de Secretarías de Educación Certificadas e Instituciones de Formación para el Trabajo de la Región</a:t>
                      </a:r>
                      <a:endParaRPr lang="es-CO" sz="1600" b="0" dirty="0">
                        <a:solidFill>
                          <a:srgbClr val="CC00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</a:tr>
              <a:tr h="93250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O" sz="1300" b="1" dirty="0" smtClean="0">
                          <a:solidFill>
                            <a:srgbClr val="FFFF00"/>
                          </a:solidFill>
                          <a:effectLst/>
                        </a:rPr>
                        <a:t>PERCEPCIÓN</a:t>
                      </a:r>
                      <a:r>
                        <a:rPr lang="es-CO" sz="1300" b="1" baseline="0" dirty="0" smtClean="0">
                          <a:solidFill>
                            <a:srgbClr val="FFFF00"/>
                          </a:solidFill>
                          <a:effectLst/>
                        </a:rPr>
                        <a:t> DE </a:t>
                      </a:r>
                      <a:r>
                        <a:rPr lang="es-CO" sz="1300" b="1" dirty="0" smtClean="0">
                          <a:solidFill>
                            <a:srgbClr val="FFFF00"/>
                          </a:solidFill>
                          <a:effectLst/>
                        </a:rPr>
                        <a:t>LA</a:t>
                      </a:r>
                      <a:r>
                        <a:rPr lang="es-CO" sz="1300" b="1" baseline="0" dirty="0" smtClean="0">
                          <a:solidFill>
                            <a:srgbClr val="FFFF00"/>
                          </a:solidFill>
                          <a:effectLst/>
                        </a:rPr>
                        <a:t> PROPUESTA MACFPT</a:t>
                      </a:r>
                      <a:endParaRPr lang="es-CO" sz="1300" b="1" dirty="0">
                        <a:solidFill>
                          <a:srgbClr val="FFFF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s-ES_tradnl" sz="1400" kern="1200" dirty="0" smtClean="0">
                          <a:effectLst/>
                        </a:rPr>
                        <a:t>Es fundamental y de vital importancia el desarrollo del Modelo</a:t>
                      </a:r>
                      <a:r>
                        <a:rPr lang="es-ES_tradnl" sz="1400" kern="1200" baseline="0" dirty="0" smtClean="0">
                          <a:effectLst/>
                        </a:rPr>
                        <a:t> de Aseguramiento de la Calidad para esta oferta educativa</a:t>
                      </a:r>
                      <a:r>
                        <a:rPr lang="es-ES_tradnl" sz="1400" kern="1200" dirty="0" smtClean="0">
                          <a:effectLst/>
                        </a:rPr>
                        <a:t>.</a:t>
                      </a:r>
                      <a:endParaRPr lang="es-CO" sz="1400" dirty="0">
                        <a:effectLst/>
                      </a:endParaRP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s-ES_tradnl" sz="1400" kern="1200" dirty="0" smtClean="0">
                          <a:effectLst/>
                        </a:rPr>
                        <a:t>Llamado al compromiso de todos</a:t>
                      </a:r>
                      <a:r>
                        <a:rPr lang="es-ES_tradnl" sz="1400" kern="1200" baseline="0" dirty="0" smtClean="0">
                          <a:effectLst/>
                        </a:rPr>
                        <a:t> los actores para fortalecer el proceso.</a:t>
                      </a:r>
                      <a:endParaRPr lang="es-CO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</a:tr>
              <a:tr h="116910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O" sz="1400" b="1" dirty="0" smtClean="0">
                          <a:solidFill>
                            <a:srgbClr val="FFFF00"/>
                          </a:solidFill>
                          <a:effectLst/>
                        </a:rPr>
                        <a:t>SUGERENCIAS AL MACFPT</a:t>
                      </a:r>
                      <a:endParaRPr lang="es-CO" sz="1400" b="1" dirty="0">
                        <a:solidFill>
                          <a:srgbClr val="FFFF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s-ES_tradnl" sz="1400" kern="1200" dirty="0" smtClean="0">
                          <a:effectLst/>
                        </a:rPr>
                        <a:t>Modelo con identidad propia</a:t>
                      </a:r>
                      <a:r>
                        <a:rPr lang="es-ES_tradnl" sz="1400" kern="1200" baseline="0" dirty="0" smtClean="0">
                          <a:effectLst/>
                        </a:rPr>
                        <a:t> para la FPT</a:t>
                      </a:r>
                      <a:r>
                        <a:rPr lang="es-ES_tradnl" sz="1400" kern="1200" dirty="0" smtClean="0">
                          <a:effectLst/>
                        </a:rPr>
                        <a:t>.</a:t>
                      </a: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s-ES_tradnl" sz="1400" kern="1200" dirty="0" err="1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Resignificar</a:t>
                      </a:r>
                      <a:r>
                        <a:rPr lang="es-ES_tradnl" sz="1400" kern="1200" baseline="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 los incentivos</a:t>
                      </a: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s-ES_tradnl" sz="1400" kern="1200" baseline="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Explorar la opción de pares amigos</a:t>
                      </a: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s-ES_tradnl" sz="1400" kern="1200" baseline="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Fortalecimiento de las redes</a:t>
                      </a: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s-ES_tradnl" sz="1400" kern="1200" baseline="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Formar parte activa del Marco Nacional de Cualificaciones.</a:t>
                      </a:r>
                      <a:endParaRPr lang="es-CO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</a:tr>
              <a:tr h="70980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O" sz="1400" b="1" dirty="0" smtClean="0">
                          <a:solidFill>
                            <a:srgbClr val="FFFF00"/>
                          </a:solidFill>
                          <a:effectLst/>
                        </a:rPr>
                        <a:t>APORTES A LA PROPUESTA</a:t>
                      </a:r>
                      <a:endParaRPr lang="es-CO" sz="1400" b="1" dirty="0">
                        <a:solidFill>
                          <a:srgbClr val="FFFF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s-CO" sz="1400" kern="1200" dirty="0" smtClean="0">
                          <a:effectLst/>
                        </a:rPr>
                        <a:t>Fortalecimiento</a:t>
                      </a:r>
                      <a:r>
                        <a:rPr lang="es-CO" sz="1400" kern="1200" baseline="0" dirty="0" smtClean="0">
                          <a:effectLst/>
                        </a:rPr>
                        <a:t> del proceso de Inspección y Vigilancia por parte de las S.E.C.</a:t>
                      </a:r>
                      <a:endParaRPr lang="es-CO" sz="1400" dirty="0">
                        <a:effectLst/>
                      </a:endParaRP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s-ES_tradnl" sz="1400" kern="1200" dirty="0" smtClean="0">
                          <a:effectLst/>
                        </a:rPr>
                        <a:t>Fortalecimiento desde el MEN al equipo de trabajo para un mayor acompañamiento al proceso.</a:t>
                      </a:r>
                      <a:endParaRPr lang="es-CO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</a:tr>
              <a:tr h="63016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O" sz="1400" b="1" dirty="0" smtClean="0">
                          <a:solidFill>
                            <a:srgbClr val="FFFF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GERENCIAS</a:t>
                      </a:r>
                      <a:r>
                        <a:rPr lang="es-CO" sz="1400" b="1" baseline="0" dirty="0" smtClean="0">
                          <a:solidFill>
                            <a:srgbClr val="FFFF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EN LA PARTICIPACIÓN DE LAS S.E.C Y LAS IFT</a:t>
                      </a:r>
                      <a:endParaRPr lang="es-CO" sz="1400" b="1" dirty="0">
                        <a:solidFill>
                          <a:srgbClr val="FFFF00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s-ES_tradnl" sz="1400" kern="1200" dirty="0" smtClean="0">
                          <a:effectLst/>
                        </a:rPr>
                        <a:t>Mayor</a:t>
                      </a:r>
                      <a:r>
                        <a:rPr lang="es-ES_tradnl" sz="1400" kern="1200" baseline="0" dirty="0" smtClean="0">
                          <a:effectLst/>
                        </a:rPr>
                        <a:t> cumplimiento de la normatividad vigente</a:t>
                      </a:r>
                      <a:endParaRPr lang="es-ES_tradnl" sz="1400" kern="1200" dirty="0" smtClean="0">
                        <a:effectLst/>
                      </a:endParaRP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s-ES_tradnl" sz="1400" kern="1200" dirty="0" smtClean="0">
                          <a:effectLst/>
                        </a:rPr>
                        <a:t>Veedores</a:t>
                      </a:r>
                      <a:r>
                        <a:rPr lang="es-ES_tradnl" sz="1400" kern="1200" baseline="0" dirty="0" smtClean="0">
                          <a:effectLst/>
                        </a:rPr>
                        <a:t> del proceso</a:t>
                      </a: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s-ES_tradnl" sz="1400" kern="1200" baseline="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Mayor regulación y propender por los fines de la educación </a:t>
                      </a:r>
                    </a:p>
                    <a:p>
                      <a:pPr marL="342900" lvl="0" indent="-3429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/>
                        <a:buChar char=""/>
                      </a:pPr>
                      <a:r>
                        <a:rPr lang="es-ES_tradnl" sz="1400" kern="1200" baseline="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Garantizar mayor coordinación entre el MEN – Secretarías de Educación Certificadas y las IFT</a:t>
                      </a:r>
                      <a:endParaRPr lang="es-CO" sz="1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21" name="20 Imagen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318" y="3068960"/>
            <a:ext cx="1885736" cy="136815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24" name="23 Imagen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319" y="1469808"/>
            <a:ext cx="1885736" cy="131112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25" name="24 Imagen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177" y="4725144"/>
            <a:ext cx="1869543" cy="1351479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="" xmlns:p14="http://schemas.microsoft.com/office/powerpoint/2010/main" val="38099701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Diagrama"/>
          <p:cNvGraphicFramePr/>
          <p:nvPr>
            <p:extLst>
              <p:ext uri="{D42A27DB-BD31-4B8C-83A1-F6EECF244321}">
                <p14:modId xmlns="" xmlns:p14="http://schemas.microsoft.com/office/powerpoint/2010/main" val="960344384"/>
              </p:ext>
            </p:extLst>
          </p:nvPr>
        </p:nvGraphicFramePr>
        <p:xfrm>
          <a:off x="971600" y="1556792"/>
          <a:ext cx="7560840" cy="45365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8" name="37 Rectángulo"/>
          <p:cNvSpPr/>
          <p:nvPr/>
        </p:nvSpPr>
        <p:spPr>
          <a:xfrm>
            <a:off x="5436096" y="632882"/>
            <a:ext cx="3384376" cy="707886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s-CO" sz="2000" dirty="0" smtClean="0">
                <a:solidFill>
                  <a:schemeClr val="bg1"/>
                </a:solidFill>
              </a:rPr>
              <a:t>CONCLUSIONES</a:t>
            </a:r>
          </a:p>
          <a:p>
            <a:pPr algn="ctr"/>
            <a:r>
              <a:rPr lang="es-CO" sz="2000" dirty="0" smtClean="0">
                <a:solidFill>
                  <a:schemeClr val="bg1"/>
                </a:solidFill>
              </a:rPr>
              <a:t> GENERALES</a:t>
            </a:r>
            <a:endParaRPr lang="es-CO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222595872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Diagrama"/>
          <p:cNvGraphicFramePr/>
          <p:nvPr>
            <p:extLst>
              <p:ext uri="{D42A27DB-BD31-4B8C-83A1-F6EECF244321}">
                <p14:modId xmlns="" xmlns:p14="http://schemas.microsoft.com/office/powerpoint/2010/main" val="3674836441"/>
              </p:ext>
            </p:extLst>
          </p:nvPr>
        </p:nvGraphicFramePr>
        <p:xfrm>
          <a:off x="539552" y="1700808"/>
          <a:ext cx="6624737" cy="44644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3" name="0 Imagen"/>
          <p:cNvPicPr/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 rot="21204808">
            <a:off x="6268640" y="328261"/>
            <a:ext cx="2555775" cy="210800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="" xmlns:p14="http://schemas.microsoft.com/office/powerpoint/2010/main" val="2243500350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Diagrama"/>
          <p:cNvGraphicFramePr/>
          <p:nvPr>
            <p:extLst>
              <p:ext uri="{D42A27DB-BD31-4B8C-83A1-F6EECF244321}">
                <p14:modId xmlns="" xmlns:p14="http://schemas.microsoft.com/office/powerpoint/2010/main" val="2346036802"/>
              </p:ext>
            </p:extLst>
          </p:nvPr>
        </p:nvGraphicFramePr>
        <p:xfrm>
          <a:off x="971600" y="1556792"/>
          <a:ext cx="7416824" cy="42484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3" name="Picture 6" descr="IMG02104-20130613-115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642065">
            <a:off x="6515227" y="593608"/>
            <a:ext cx="2272605" cy="194421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="" xmlns:p14="http://schemas.microsoft.com/office/powerpoint/2010/main" val="1942850034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Diagrama"/>
          <p:cNvGraphicFramePr/>
          <p:nvPr>
            <p:extLst>
              <p:ext uri="{D42A27DB-BD31-4B8C-83A1-F6EECF244321}">
                <p14:modId xmlns="" xmlns:p14="http://schemas.microsoft.com/office/powerpoint/2010/main" val="2346036802"/>
              </p:ext>
            </p:extLst>
          </p:nvPr>
        </p:nvGraphicFramePr>
        <p:xfrm>
          <a:off x="971600" y="1268760"/>
          <a:ext cx="8172400" cy="48965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5" name="34 Conector recto de flecha"/>
          <p:cNvCxnSpPr/>
          <p:nvPr/>
        </p:nvCxnSpPr>
        <p:spPr>
          <a:xfrm>
            <a:off x="3319253" y="2352254"/>
            <a:ext cx="0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74 Conector recto de flecha"/>
          <p:cNvCxnSpPr/>
          <p:nvPr/>
        </p:nvCxnSpPr>
        <p:spPr>
          <a:xfrm flipH="1" flipV="1">
            <a:off x="4983920" y="1999973"/>
            <a:ext cx="452395" cy="352281"/>
          </a:xfrm>
          <a:prstGeom prst="straightConnector1">
            <a:avLst/>
          </a:prstGeom>
          <a:ln>
            <a:noFill/>
            <a:tailEnd type="arrow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78 Conector recto de flecha"/>
          <p:cNvCxnSpPr/>
          <p:nvPr/>
        </p:nvCxnSpPr>
        <p:spPr>
          <a:xfrm flipH="1" flipV="1">
            <a:off x="4983920" y="1999973"/>
            <a:ext cx="2827968" cy="352281"/>
          </a:xfrm>
          <a:prstGeom prst="straightConnector1">
            <a:avLst/>
          </a:prstGeom>
          <a:ln>
            <a:noFill/>
            <a:tailEnd type="arrow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86 Conector recto de flecha"/>
          <p:cNvCxnSpPr/>
          <p:nvPr/>
        </p:nvCxnSpPr>
        <p:spPr>
          <a:xfrm flipV="1">
            <a:off x="3159435" y="3569596"/>
            <a:ext cx="1626854" cy="412867"/>
          </a:xfrm>
          <a:prstGeom prst="straightConnector1">
            <a:avLst/>
          </a:prstGeom>
          <a:ln>
            <a:noFill/>
            <a:tailEnd type="arrow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" name="9 Diagrama"/>
          <p:cNvGraphicFramePr/>
          <p:nvPr>
            <p:extLst>
              <p:ext uri="{D42A27DB-BD31-4B8C-83A1-F6EECF244321}">
                <p14:modId xmlns="" xmlns:p14="http://schemas.microsoft.com/office/powerpoint/2010/main" val="399414015"/>
              </p:ext>
            </p:extLst>
          </p:nvPr>
        </p:nvGraphicFramePr>
        <p:xfrm>
          <a:off x="899592" y="1397000"/>
          <a:ext cx="7344816" cy="45522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65" name="1 Título"/>
          <p:cNvSpPr txBox="1">
            <a:spLocks/>
          </p:cNvSpPr>
          <p:nvPr/>
        </p:nvSpPr>
        <p:spPr bwMode="auto">
          <a:xfrm>
            <a:off x="5252582" y="620688"/>
            <a:ext cx="3384376" cy="404149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ES_tradnl" b="0" dirty="0" smtClean="0"/>
              <a:t/>
            </a:r>
            <a:br>
              <a:rPr lang="es-ES_tradnl" b="0" dirty="0" smtClean="0"/>
            </a:br>
            <a:r>
              <a:rPr lang="es-ES_tradnl" b="0" dirty="0" smtClean="0"/>
              <a:t/>
            </a:r>
            <a:br>
              <a:rPr lang="es-ES_tradnl" b="0" dirty="0" smtClean="0"/>
            </a:br>
            <a:r>
              <a:rPr lang="es-ES_tradnl" sz="3200" dirty="0" smtClean="0">
                <a:solidFill>
                  <a:schemeClr val="bg1"/>
                </a:solidFill>
              </a:rPr>
              <a:t>RETOS</a:t>
            </a:r>
            <a:r>
              <a:rPr lang="es-CO" sz="2000" b="0" dirty="0" smtClean="0">
                <a:solidFill>
                  <a:schemeClr val="bg1"/>
                </a:solidFill>
              </a:rPr>
              <a:t/>
            </a:r>
            <a:br>
              <a:rPr lang="es-CO" sz="2000" b="0" dirty="0" smtClean="0">
                <a:solidFill>
                  <a:schemeClr val="bg1"/>
                </a:solidFill>
              </a:rPr>
            </a:br>
            <a:r>
              <a:rPr lang="es-CO" b="0" dirty="0" smtClean="0"/>
              <a:t/>
            </a:r>
            <a:br>
              <a:rPr lang="es-CO" b="0" dirty="0" smtClean="0"/>
            </a:br>
            <a:endParaRPr lang="es-CO" b="0" dirty="0"/>
          </a:p>
        </p:txBody>
      </p:sp>
    </p:spTree>
    <p:extLst>
      <p:ext uri="{BB962C8B-B14F-4D97-AF65-F5344CB8AC3E}">
        <p14:creationId xmlns="" xmlns:p14="http://schemas.microsoft.com/office/powerpoint/2010/main" val="2881036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1 Título"/>
          <p:cNvSpPr>
            <a:spLocks noGrp="1"/>
          </p:cNvSpPr>
          <p:nvPr>
            <p:ph type="title"/>
          </p:nvPr>
        </p:nvSpPr>
        <p:spPr>
          <a:xfrm>
            <a:off x="5043077" y="620688"/>
            <a:ext cx="4077380" cy="504056"/>
          </a:xfrm>
        </p:spPr>
        <p:txBody>
          <a:bodyPr/>
          <a:lstStyle/>
          <a:p>
            <a:pPr>
              <a:defRPr/>
            </a:pPr>
            <a:r>
              <a:rPr lang="es-CO" b="1" i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Arial" pitchFamily="34" charset="0"/>
              </a:rPr>
              <a:t>Contenido</a:t>
            </a:r>
          </a:p>
        </p:txBody>
      </p:sp>
      <p:sp>
        <p:nvSpPr>
          <p:cNvPr id="21" name="AutoShape 9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103734" y="2687435"/>
            <a:ext cx="5420594" cy="668396"/>
          </a:xfrm>
          <a:prstGeom prst="roundRect">
            <a:avLst>
              <a:gd name="adj" fmla="val 50000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wrap="none" anchor="ctr"/>
          <a:lstStyle/>
          <a:p>
            <a:pPr>
              <a:defRPr/>
            </a:pPr>
            <a:endParaRPr lang="en-GB" sz="2000" b="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2" name="Rectangle 10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338783" y="2940332"/>
            <a:ext cx="4969744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266700" lvl="1" indent="-266700" defTabSz="895350">
              <a:spcBef>
                <a:spcPct val="60000"/>
              </a:spcBef>
              <a:spcAft>
                <a:spcPct val="60000"/>
              </a:spcAft>
              <a:buClr>
                <a:schemeClr val="bg1"/>
              </a:buClr>
              <a:buFont typeface="Wingdings" pitchFamily="2" charset="2"/>
              <a:buChar char="§"/>
              <a:defRPr/>
            </a:pPr>
            <a:r>
              <a:rPr lang="es-CO" sz="1800" dirty="0" smtClean="0">
                <a:solidFill>
                  <a:srgbClr val="5F5F5F"/>
                </a:solidFill>
              </a:rPr>
              <a:t>Estado actual</a:t>
            </a:r>
            <a:endParaRPr lang="es-CO" sz="1800" dirty="0">
              <a:solidFill>
                <a:srgbClr val="5F5F5F"/>
              </a:solidFill>
            </a:endParaRPr>
          </a:p>
        </p:txBody>
      </p:sp>
      <p:sp>
        <p:nvSpPr>
          <p:cNvPr id="23" name="AutoShape 9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103734" y="3479523"/>
            <a:ext cx="5420594" cy="668396"/>
          </a:xfrm>
          <a:prstGeom prst="roundRect">
            <a:avLst>
              <a:gd name="adj" fmla="val 50000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wrap="none" anchor="ctr"/>
          <a:lstStyle/>
          <a:p>
            <a:pPr>
              <a:defRPr/>
            </a:pPr>
            <a:endParaRPr lang="en-GB" sz="2000" b="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4" name="Rectangle 10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338783" y="3732420"/>
            <a:ext cx="4969744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266700" lvl="1" indent="-266700" defTabSz="895350">
              <a:spcBef>
                <a:spcPct val="60000"/>
              </a:spcBef>
              <a:spcAft>
                <a:spcPct val="60000"/>
              </a:spcAft>
              <a:buClr>
                <a:schemeClr val="bg1"/>
              </a:buClr>
              <a:buFont typeface="Wingdings" pitchFamily="2" charset="2"/>
              <a:buChar char="§"/>
              <a:defRPr/>
            </a:pPr>
            <a:r>
              <a:rPr lang="es-CO" sz="1800" dirty="0" smtClean="0">
                <a:solidFill>
                  <a:srgbClr val="5F5F5F"/>
                </a:solidFill>
              </a:rPr>
              <a:t>Modelo estratégico</a:t>
            </a:r>
            <a:endParaRPr lang="es-CO" sz="1800" dirty="0">
              <a:solidFill>
                <a:srgbClr val="5F5F5F"/>
              </a:solidFill>
            </a:endParaRPr>
          </a:p>
        </p:txBody>
      </p:sp>
      <p:sp>
        <p:nvSpPr>
          <p:cNvPr id="26" name="AutoShape 9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103734" y="4251287"/>
            <a:ext cx="5420594" cy="668396"/>
          </a:xfrm>
          <a:prstGeom prst="roundRect">
            <a:avLst>
              <a:gd name="adj" fmla="val 50000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wrap="none" anchor="ctr"/>
          <a:lstStyle/>
          <a:p>
            <a:pPr>
              <a:defRPr/>
            </a:pPr>
            <a:endParaRPr lang="en-GB" sz="2000" b="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7" name="Rectangle 10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338783" y="4504184"/>
            <a:ext cx="4969744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266700" lvl="1" indent="-266700" defTabSz="895350">
              <a:spcBef>
                <a:spcPct val="60000"/>
              </a:spcBef>
              <a:spcAft>
                <a:spcPct val="60000"/>
              </a:spcAft>
              <a:buClr>
                <a:schemeClr val="bg1"/>
              </a:buClr>
              <a:buFont typeface="Wingdings" pitchFamily="2" charset="2"/>
              <a:buChar char="§"/>
              <a:defRPr/>
            </a:pPr>
            <a:r>
              <a:rPr lang="es-CO" sz="1800" dirty="0" smtClean="0">
                <a:solidFill>
                  <a:srgbClr val="5F5F5F"/>
                </a:solidFill>
              </a:rPr>
              <a:t>Sistema de aseguramiento </a:t>
            </a:r>
            <a:endParaRPr lang="es-CO" sz="1800" dirty="0">
              <a:solidFill>
                <a:srgbClr val="5F5F5F"/>
              </a:solidFill>
            </a:endParaRPr>
          </a:p>
        </p:txBody>
      </p:sp>
      <p:sp>
        <p:nvSpPr>
          <p:cNvPr id="33" name="Rectangle 5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 flipH="1">
            <a:off x="6697140" y="1844824"/>
            <a:ext cx="1907308" cy="677689"/>
          </a:xfrm>
          <a:prstGeom prst="rect">
            <a:avLst/>
          </a:prstGeom>
          <a:solidFill>
            <a:srgbClr val="FFFF00"/>
          </a:solidFill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>
              <a:defRPr/>
            </a:pPr>
            <a:endParaRPr lang="en-GB" sz="2000" b="0"/>
          </a:p>
        </p:txBody>
      </p:sp>
      <p:sp>
        <p:nvSpPr>
          <p:cNvPr id="34" name="AutoShape 6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 flipH="1">
            <a:off x="6698952" y="1772817"/>
            <a:ext cx="1041400" cy="77060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GB" sz="2000" b="0"/>
          </a:p>
        </p:txBody>
      </p:sp>
      <p:sp>
        <p:nvSpPr>
          <p:cNvPr id="35" name="Rectangle 7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755576" y="1844824"/>
            <a:ext cx="1670274" cy="698595"/>
          </a:xfrm>
          <a:prstGeom prst="rect">
            <a:avLst/>
          </a:prstGeom>
          <a:solidFill>
            <a:srgbClr val="FFFF00"/>
          </a:solidFill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>
              <a:defRPr/>
            </a:pPr>
            <a:endParaRPr lang="en-GB" sz="2000" b="0"/>
          </a:p>
        </p:txBody>
      </p:sp>
      <p:sp>
        <p:nvSpPr>
          <p:cNvPr id="36" name="AutoShape 8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1771353" y="1772816"/>
            <a:ext cx="1107976" cy="77060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/>
            <a:endParaRPr lang="en-GB" sz="2000"/>
          </a:p>
        </p:txBody>
      </p:sp>
      <p:sp>
        <p:nvSpPr>
          <p:cNvPr id="37" name="AutoShape 9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2068215" y="1845395"/>
            <a:ext cx="5456337" cy="698023"/>
          </a:xfrm>
          <a:prstGeom prst="roundRect">
            <a:avLst>
              <a:gd name="adj" fmla="val 50000"/>
            </a:avLst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wrap="none" anchor="ctr"/>
          <a:lstStyle/>
          <a:p>
            <a:pPr>
              <a:defRPr/>
            </a:pPr>
            <a:endParaRPr lang="en-GB" sz="1600" b="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38" name="Rectangle 10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2303264" y="2060848"/>
            <a:ext cx="5221288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marL="266700" lvl="1" indent="-266700" defTabSz="895350">
              <a:spcBef>
                <a:spcPct val="60000"/>
              </a:spcBef>
              <a:spcAft>
                <a:spcPct val="60000"/>
              </a:spcAft>
              <a:buClr>
                <a:schemeClr val="bg1"/>
              </a:buClr>
              <a:buFont typeface="Wingdings" pitchFamily="2" charset="2"/>
              <a:buChar char="§"/>
              <a:defRPr/>
            </a:pPr>
            <a:r>
              <a:rPr lang="es-CO" sz="2000" dirty="0" smtClean="0">
                <a:ln w="18415" cmpd="sng">
                  <a:noFill/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ea typeface="MS PGothic" pitchFamily="34" charset="-128"/>
              </a:rPr>
              <a:t>Contexto</a:t>
            </a:r>
            <a:endParaRPr lang="es-CO" sz="2000" dirty="0">
              <a:ln w="18415" cmpd="sng">
                <a:noFill/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ea typeface="MS PGothic" pitchFamily="34" charset="-128"/>
            </a:endParaRPr>
          </a:p>
        </p:txBody>
      </p:sp>
      <p:sp>
        <p:nvSpPr>
          <p:cNvPr id="17" name="AutoShape 9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2123728" y="5013176"/>
            <a:ext cx="5420594" cy="668396"/>
          </a:xfrm>
          <a:prstGeom prst="roundRect">
            <a:avLst>
              <a:gd name="adj" fmla="val 50000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wrap="none" anchor="ctr"/>
          <a:lstStyle/>
          <a:p>
            <a:pPr>
              <a:defRPr/>
            </a:pPr>
            <a:endParaRPr lang="en-GB" sz="2000" b="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8" name="Rectangle 10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2358777" y="5266073"/>
            <a:ext cx="4969744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266700" lvl="1" indent="-266700" defTabSz="895350">
              <a:spcBef>
                <a:spcPct val="60000"/>
              </a:spcBef>
              <a:spcAft>
                <a:spcPct val="60000"/>
              </a:spcAft>
              <a:buClr>
                <a:schemeClr val="bg1"/>
              </a:buClr>
              <a:buFont typeface="Wingdings" pitchFamily="2" charset="2"/>
              <a:buChar char="§"/>
              <a:defRPr/>
            </a:pPr>
            <a:r>
              <a:rPr lang="es-CO" sz="1800" dirty="0" smtClean="0">
                <a:solidFill>
                  <a:srgbClr val="5F5F5F"/>
                </a:solidFill>
              </a:rPr>
              <a:t>Gestión desde las Entidades Territoriales</a:t>
            </a:r>
            <a:endParaRPr lang="es-CO" sz="1800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8266948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7 Rectángulo"/>
          <p:cNvSpPr/>
          <p:nvPr/>
        </p:nvSpPr>
        <p:spPr>
          <a:xfrm>
            <a:off x="1547813" y="1366838"/>
            <a:ext cx="3887787" cy="69373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CO"/>
          </a:p>
        </p:txBody>
      </p:sp>
      <p:pic>
        <p:nvPicPr>
          <p:cNvPr id="4099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31625" t="18889" r="16251" b="14890"/>
          <a:stretch>
            <a:fillRect/>
          </a:stretch>
        </p:blipFill>
        <p:spPr bwMode="auto">
          <a:xfrm>
            <a:off x="395535" y="477342"/>
            <a:ext cx="8424937" cy="5759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12 Rectángulo"/>
          <p:cNvSpPr/>
          <p:nvPr/>
        </p:nvSpPr>
        <p:spPr>
          <a:xfrm>
            <a:off x="7596188" y="5588000"/>
            <a:ext cx="503237" cy="6492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CO"/>
          </a:p>
        </p:txBody>
      </p:sp>
    </p:spTree>
    <p:extLst>
      <p:ext uri="{BB962C8B-B14F-4D97-AF65-F5344CB8AC3E}">
        <p14:creationId xmlns="" xmlns:p14="http://schemas.microsoft.com/office/powerpoint/2010/main" val="19416378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1 Título"/>
          <p:cNvSpPr>
            <a:spLocks noGrp="1"/>
          </p:cNvSpPr>
          <p:nvPr>
            <p:ph type="title"/>
          </p:nvPr>
        </p:nvSpPr>
        <p:spPr>
          <a:xfrm>
            <a:off x="5043077" y="620688"/>
            <a:ext cx="4077380" cy="504056"/>
          </a:xfrm>
        </p:spPr>
        <p:txBody>
          <a:bodyPr/>
          <a:lstStyle/>
          <a:p>
            <a:pPr>
              <a:defRPr/>
            </a:pPr>
            <a:r>
              <a:rPr lang="es-CO" b="1" i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Arial" pitchFamily="34" charset="0"/>
              </a:rPr>
              <a:t>Contenido</a:t>
            </a:r>
          </a:p>
        </p:txBody>
      </p:sp>
      <p:sp>
        <p:nvSpPr>
          <p:cNvPr id="21" name="AutoShape 9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103734" y="1824500"/>
            <a:ext cx="5420594" cy="668396"/>
          </a:xfrm>
          <a:prstGeom prst="roundRect">
            <a:avLst>
              <a:gd name="adj" fmla="val 50000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wrap="none" anchor="ctr"/>
          <a:lstStyle/>
          <a:p>
            <a:pPr>
              <a:defRPr/>
            </a:pPr>
            <a:endParaRPr lang="en-GB" sz="2000" b="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2" name="Rectangle 10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338783" y="2077397"/>
            <a:ext cx="4969744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266700" lvl="1" indent="-266700" defTabSz="895350">
              <a:spcBef>
                <a:spcPct val="60000"/>
              </a:spcBef>
              <a:spcAft>
                <a:spcPct val="60000"/>
              </a:spcAft>
              <a:buClr>
                <a:schemeClr val="bg1"/>
              </a:buClr>
              <a:buFont typeface="Wingdings" pitchFamily="2" charset="2"/>
              <a:buChar char="§"/>
              <a:defRPr/>
            </a:pPr>
            <a:r>
              <a:rPr lang="es-CO" sz="1800" dirty="0" smtClean="0">
                <a:solidFill>
                  <a:srgbClr val="5F5F5F"/>
                </a:solidFill>
              </a:rPr>
              <a:t>Contexto</a:t>
            </a:r>
            <a:endParaRPr lang="es-CO" sz="1800" dirty="0">
              <a:solidFill>
                <a:srgbClr val="5F5F5F"/>
              </a:solidFill>
            </a:endParaRPr>
          </a:p>
        </p:txBody>
      </p:sp>
      <p:sp>
        <p:nvSpPr>
          <p:cNvPr id="23" name="AutoShape 9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103734" y="2636912"/>
            <a:ext cx="5420594" cy="668396"/>
          </a:xfrm>
          <a:prstGeom prst="roundRect">
            <a:avLst>
              <a:gd name="adj" fmla="val 50000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wrap="none" anchor="ctr"/>
          <a:lstStyle/>
          <a:p>
            <a:pPr>
              <a:defRPr/>
            </a:pPr>
            <a:endParaRPr lang="en-GB" sz="2000" b="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4" name="Rectangle 10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338783" y="2889809"/>
            <a:ext cx="4969744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266700" lvl="1" indent="-266700" defTabSz="895350">
              <a:spcBef>
                <a:spcPct val="60000"/>
              </a:spcBef>
              <a:spcAft>
                <a:spcPct val="60000"/>
              </a:spcAft>
              <a:buClr>
                <a:schemeClr val="bg1"/>
              </a:buClr>
              <a:buFont typeface="Wingdings" pitchFamily="2" charset="2"/>
              <a:buChar char="§"/>
              <a:defRPr/>
            </a:pPr>
            <a:r>
              <a:rPr lang="es-CO" sz="1800" dirty="0" smtClean="0">
                <a:solidFill>
                  <a:srgbClr val="5F5F5F"/>
                </a:solidFill>
              </a:rPr>
              <a:t>Estado actual</a:t>
            </a:r>
            <a:endParaRPr lang="es-CO" sz="1800" dirty="0">
              <a:solidFill>
                <a:srgbClr val="5F5F5F"/>
              </a:solidFill>
            </a:endParaRPr>
          </a:p>
        </p:txBody>
      </p:sp>
      <p:sp>
        <p:nvSpPr>
          <p:cNvPr id="26" name="AutoShape 9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103734" y="4323295"/>
            <a:ext cx="5420594" cy="668396"/>
          </a:xfrm>
          <a:prstGeom prst="roundRect">
            <a:avLst>
              <a:gd name="adj" fmla="val 50000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wrap="none" anchor="ctr"/>
          <a:lstStyle/>
          <a:p>
            <a:pPr>
              <a:defRPr/>
            </a:pPr>
            <a:endParaRPr lang="en-GB" sz="2000" b="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7" name="Rectangle 10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338783" y="4576192"/>
            <a:ext cx="4969744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266700" lvl="1" indent="-266700" defTabSz="895350">
              <a:spcBef>
                <a:spcPct val="60000"/>
              </a:spcBef>
              <a:spcAft>
                <a:spcPct val="60000"/>
              </a:spcAft>
              <a:buClr>
                <a:schemeClr val="bg1"/>
              </a:buClr>
              <a:buFont typeface="Wingdings" pitchFamily="2" charset="2"/>
              <a:buChar char="§"/>
              <a:defRPr/>
            </a:pPr>
            <a:r>
              <a:rPr lang="es-CO" sz="1800" dirty="0" smtClean="0">
                <a:solidFill>
                  <a:srgbClr val="5F5F5F"/>
                </a:solidFill>
              </a:rPr>
              <a:t>Sistema de aseguramiento </a:t>
            </a:r>
            <a:endParaRPr lang="es-CO" sz="1800" dirty="0">
              <a:solidFill>
                <a:srgbClr val="5F5F5F"/>
              </a:solidFill>
            </a:endParaRPr>
          </a:p>
        </p:txBody>
      </p:sp>
      <p:sp>
        <p:nvSpPr>
          <p:cNvPr id="33" name="Rectangle 5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 flipH="1">
            <a:off x="6697140" y="3450485"/>
            <a:ext cx="1907308" cy="677689"/>
          </a:xfrm>
          <a:prstGeom prst="rect">
            <a:avLst/>
          </a:prstGeom>
          <a:solidFill>
            <a:srgbClr val="FFFF00"/>
          </a:solidFill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>
              <a:defRPr/>
            </a:pPr>
            <a:endParaRPr lang="en-GB" sz="2000" b="0"/>
          </a:p>
        </p:txBody>
      </p:sp>
      <p:sp>
        <p:nvSpPr>
          <p:cNvPr id="34" name="AutoShape 6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 flipH="1">
            <a:off x="6698952" y="3378478"/>
            <a:ext cx="1041400" cy="77060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GB" sz="2000" b="0"/>
          </a:p>
        </p:txBody>
      </p:sp>
      <p:sp>
        <p:nvSpPr>
          <p:cNvPr id="35" name="Rectangle 7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755576" y="3450485"/>
            <a:ext cx="1670274" cy="698595"/>
          </a:xfrm>
          <a:prstGeom prst="rect">
            <a:avLst/>
          </a:prstGeom>
          <a:solidFill>
            <a:srgbClr val="FFFF00"/>
          </a:solidFill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>
              <a:defRPr/>
            </a:pPr>
            <a:endParaRPr lang="en-GB" sz="2000" b="0"/>
          </a:p>
        </p:txBody>
      </p:sp>
      <p:sp>
        <p:nvSpPr>
          <p:cNvPr id="36" name="AutoShape 8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1771353" y="3378477"/>
            <a:ext cx="1107976" cy="77060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/>
            <a:endParaRPr lang="en-GB" sz="2000"/>
          </a:p>
        </p:txBody>
      </p:sp>
      <p:sp>
        <p:nvSpPr>
          <p:cNvPr id="37" name="AutoShape 9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2068215" y="3451056"/>
            <a:ext cx="5456337" cy="698023"/>
          </a:xfrm>
          <a:prstGeom prst="roundRect">
            <a:avLst>
              <a:gd name="adj" fmla="val 50000"/>
            </a:avLst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wrap="none" anchor="ctr"/>
          <a:lstStyle/>
          <a:p>
            <a:pPr>
              <a:defRPr/>
            </a:pPr>
            <a:endParaRPr lang="en-GB" sz="1600" b="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38" name="Rectangle 10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2303264" y="3666509"/>
            <a:ext cx="5221288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marL="266700" lvl="1" indent="-266700" defTabSz="895350">
              <a:spcBef>
                <a:spcPct val="60000"/>
              </a:spcBef>
              <a:spcAft>
                <a:spcPct val="60000"/>
              </a:spcAft>
              <a:buClr>
                <a:schemeClr val="bg1"/>
              </a:buClr>
              <a:buFont typeface="Wingdings" pitchFamily="2" charset="2"/>
              <a:buChar char="§"/>
              <a:defRPr/>
            </a:pPr>
            <a:r>
              <a:rPr lang="es-CO" sz="2000" dirty="0" smtClean="0">
                <a:ln w="18415" cmpd="sng">
                  <a:noFill/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ea typeface="MS PGothic" pitchFamily="34" charset="-128"/>
              </a:rPr>
              <a:t>Modelo estratégico</a:t>
            </a:r>
            <a:endParaRPr lang="es-CO" sz="2000" dirty="0">
              <a:ln w="18415" cmpd="sng">
                <a:noFill/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ea typeface="MS PGothic" pitchFamily="34" charset="-128"/>
            </a:endParaRPr>
          </a:p>
        </p:txBody>
      </p:sp>
      <p:sp>
        <p:nvSpPr>
          <p:cNvPr id="16" name="AutoShape 9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2123728" y="5136868"/>
            <a:ext cx="5420594" cy="668396"/>
          </a:xfrm>
          <a:prstGeom prst="roundRect">
            <a:avLst>
              <a:gd name="adj" fmla="val 50000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wrap="none" anchor="ctr"/>
          <a:lstStyle/>
          <a:p>
            <a:pPr>
              <a:defRPr/>
            </a:pPr>
            <a:endParaRPr lang="en-GB" sz="2000" b="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7" name="Rectangle 10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2358777" y="5389765"/>
            <a:ext cx="4969744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266700" lvl="1" indent="-266700" defTabSz="895350">
              <a:spcBef>
                <a:spcPct val="60000"/>
              </a:spcBef>
              <a:spcAft>
                <a:spcPct val="60000"/>
              </a:spcAft>
              <a:buClr>
                <a:schemeClr val="bg1"/>
              </a:buClr>
              <a:buFont typeface="Wingdings" pitchFamily="2" charset="2"/>
              <a:buChar char="§"/>
              <a:defRPr/>
            </a:pPr>
            <a:r>
              <a:rPr lang="es-CO" sz="1800" dirty="0" smtClean="0">
                <a:solidFill>
                  <a:srgbClr val="5F5F5F"/>
                </a:solidFill>
              </a:rPr>
              <a:t>Gestión desde las Entidades Territoriales</a:t>
            </a:r>
            <a:endParaRPr lang="es-CO" sz="1800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8266948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21 Rectángulo redondeado"/>
          <p:cNvSpPr/>
          <p:nvPr/>
        </p:nvSpPr>
        <p:spPr bwMode="auto">
          <a:xfrm>
            <a:off x="244475" y="4659313"/>
            <a:ext cx="3189288" cy="199548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CO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22 Rectángulo redondeado"/>
          <p:cNvSpPr/>
          <p:nvPr/>
        </p:nvSpPr>
        <p:spPr>
          <a:xfrm>
            <a:off x="190500" y="4509120"/>
            <a:ext cx="8901113" cy="2205038"/>
          </a:xfrm>
          <a:prstGeom prst="roundRect">
            <a:avLst/>
          </a:prstGeom>
          <a:solidFill>
            <a:schemeClr val="bg2">
              <a:lumMod val="90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lnSpc>
                <a:spcPts val="1500"/>
              </a:lnSpc>
              <a:defRPr/>
            </a:pPr>
            <a:endParaRPr lang="es-CO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23 Rectángulo redondeado"/>
          <p:cNvSpPr/>
          <p:nvPr/>
        </p:nvSpPr>
        <p:spPr>
          <a:xfrm>
            <a:off x="134938" y="3356992"/>
            <a:ext cx="8901112" cy="1128713"/>
          </a:xfrm>
          <a:prstGeom prst="roundRect">
            <a:avLst/>
          </a:prstGeom>
          <a:solidFill>
            <a:schemeClr val="bg2">
              <a:lumMod val="90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lnSpc>
                <a:spcPts val="1500"/>
              </a:lnSpc>
              <a:defRPr/>
            </a:pPr>
            <a:endParaRPr lang="es-CO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24 Rectángulo redondeado"/>
          <p:cNvSpPr/>
          <p:nvPr/>
        </p:nvSpPr>
        <p:spPr>
          <a:xfrm>
            <a:off x="134938" y="1700808"/>
            <a:ext cx="8901112" cy="1620838"/>
          </a:xfrm>
          <a:prstGeom prst="roundRect">
            <a:avLst/>
          </a:prstGeom>
          <a:solidFill>
            <a:schemeClr val="bg2">
              <a:lumMod val="90000"/>
            </a:schemeClr>
          </a:solidFill>
          <a:ln>
            <a:solidFill>
              <a:schemeClr val="accent2">
                <a:lumMod val="50000"/>
              </a:schemeClr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lnSpc>
                <a:spcPts val="1500"/>
              </a:lnSpc>
              <a:defRPr/>
            </a:pPr>
            <a:r>
              <a:rPr lang="es-CO" sz="1400" b="1" dirty="0">
                <a:latin typeface="Arial" pitchFamily="34" charset="0"/>
                <a:cs typeface="Arial" pitchFamily="34" charset="0"/>
              </a:rPr>
              <a:t>. Más Inclusión Social</a:t>
            </a:r>
          </a:p>
          <a:p>
            <a:pPr algn="ctr">
              <a:lnSpc>
                <a:spcPts val="1500"/>
              </a:lnSpc>
              <a:defRPr/>
            </a:pPr>
            <a:endParaRPr lang="es-CO" sz="4800" dirty="0">
              <a:latin typeface="Arial" pitchFamily="34" charset="0"/>
              <a:cs typeface="Arial" pitchFamily="34" charset="0"/>
            </a:endParaRPr>
          </a:p>
          <a:p>
            <a:pPr marL="342900" lvl="1" indent="-342900">
              <a:lnSpc>
                <a:spcPts val="1800"/>
              </a:lnSpc>
              <a:buFont typeface="Calibri" pitchFamily="34" charset="0"/>
              <a:buAutoNum type="alphaLcPeriod"/>
              <a:defRPr/>
            </a:pPr>
            <a:r>
              <a:rPr lang="es-CO" sz="1400" dirty="0">
                <a:latin typeface="Arial" pitchFamily="34" charset="0"/>
                <a:cs typeface="Arial" pitchFamily="34" charset="0"/>
              </a:rPr>
              <a:t>Formación Profesional </a:t>
            </a:r>
          </a:p>
          <a:p>
            <a:pPr marL="342900" lvl="1" indent="-342900">
              <a:lnSpc>
                <a:spcPts val="1800"/>
              </a:lnSpc>
              <a:buFont typeface="Calibri" pitchFamily="34" charset="0"/>
              <a:buAutoNum type="alphaLcPeriod"/>
              <a:defRPr/>
            </a:pPr>
            <a:r>
              <a:rPr lang="es-CO" sz="1400" dirty="0">
                <a:latin typeface="Arial" pitchFamily="34" charset="0"/>
                <a:cs typeface="Arial" pitchFamily="34" charset="0"/>
              </a:rPr>
              <a:t>Oportunidades Laborales</a:t>
            </a:r>
          </a:p>
        </p:txBody>
      </p:sp>
      <p:sp>
        <p:nvSpPr>
          <p:cNvPr id="27" name="26 Rectángulo redondeado"/>
          <p:cNvSpPr/>
          <p:nvPr/>
        </p:nvSpPr>
        <p:spPr bwMode="auto">
          <a:xfrm>
            <a:off x="3560763" y="4653136"/>
            <a:ext cx="3189287" cy="2047875"/>
          </a:xfrm>
          <a:prstGeom prst="roundRect">
            <a:avLst/>
          </a:prstGeom>
          <a:ln>
            <a:solidFill>
              <a:srgbClr val="C00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CO" sz="14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27 Rectángulo redondeado"/>
          <p:cNvSpPr/>
          <p:nvPr/>
        </p:nvSpPr>
        <p:spPr bwMode="auto">
          <a:xfrm>
            <a:off x="251668" y="1772816"/>
            <a:ext cx="3024188" cy="1476375"/>
          </a:xfrm>
          <a:prstGeom prst="roundRect">
            <a:avLst/>
          </a:prstGeom>
          <a:ln>
            <a:solidFill>
              <a:srgbClr val="C00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CO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9" name="26 CuadroTexto">
            <a:hlinkClick r:id="rId3" action="ppaction://hlinksldjump"/>
          </p:cNvPr>
          <p:cNvSpPr txBox="1">
            <a:spLocks noChangeArrowheads="1"/>
          </p:cNvSpPr>
          <p:nvPr/>
        </p:nvSpPr>
        <p:spPr bwMode="auto">
          <a:xfrm>
            <a:off x="395536" y="1772816"/>
            <a:ext cx="2568575" cy="15388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 algn="ctr">
              <a:buAutoNum type="arabicPeriod"/>
              <a:defRPr/>
            </a:pPr>
            <a:r>
              <a:rPr lang="es-CO" sz="1400" dirty="0" smtClean="0">
                <a:solidFill>
                  <a:srgbClr val="800000"/>
                </a:solidFill>
                <a:cs typeface="Arial"/>
              </a:rPr>
              <a:t>Consolidar </a:t>
            </a:r>
            <a:r>
              <a:rPr lang="es-CO" sz="1400" dirty="0">
                <a:solidFill>
                  <a:srgbClr val="800000"/>
                </a:solidFill>
                <a:cs typeface="Arial"/>
              </a:rPr>
              <a:t>el sistema de aseguramiento y fomento de la calidad </a:t>
            </a:r>
            <a:r>
              <a:rPr lang="es-CO" sz="1400" dirty="0" smtClean="0">
                <a:solidFill>
                  <a:srgbClr val="800000"/>
                </a:solidFill>
                <a:cs typeface="Arial"/>
              </a:rPr>
              <a:t>de la FTDH</a:t>
            </a:r>
          </a:p>
          <a:p>
            <a:pPr lvl="0">
              <a:defRPr/>
            </a:pPr>
            <a:r>
              <a:rPr lang="es-CO" sz="12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. Implementación </a:t>
            </a:r>
            <a:r>
              <a:rPr lang="es-CO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odelo de Aseguramiento de Calidad</a:t>
            </a:r>
          </a:p>
          <a:p>
            <a:pPr marL="342900" indent="-342900" algn="ctr">
              <a:buAutoNum type="arabicPeriod"/>
              <a:defRPr/>
            </a:pPr>
            <a:endParaRPr lang="es-CO" sz="1400" dirty="0">
              <a:cs typeface="Arial"/>
            </a:endParaRPr>
          </a:p>
        </p:txBody>
      </p:sp>
      <p:sp>
        <p:nvSpPr>
          <p:cNvPr id="30" name="29 Rectángulo redondeado"/>
          <p:cNvSpPr/>
          <p:nvPr/>
        </p:nvSpPr>
        <p:spPr bwMode="auto">
          <a:xfrm>
            <a:off x="3557588" y="3356992"/>
            <a:ext cx="3124200" cy="1082734"/>
          </a:xfrm>
          <a:prstGeom prst="roundRect">
            <a:avLst/>
          </a:prstGeom>
          <a:ln>
            <a:solidFill>
              <a:srgbClr val="C00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CO" sz="20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30 Rectángulo redondeado"/>
          <p:cNvSpPr/>
          <p:nvPr/>
        </p:nvSpPr>
        <p:spPr bwMode="auto">
          <a:xfrm>
            <a:off x="251520" y="3356992"/>
            <a:ext cx="3135313" cy="1125811"/>
          </a:xfrm>
          <a:prstGeom prst="roundRect">
            <a:avLst/>
          </a:prstGeom>
          <a:ln>
            <a:solidFill>
              <a:srgbClr val="C00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CO" sz="20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31 Rectángulo redondeado"/>
          <p:cNvSpPr/>
          <p:nvPr/>
        </p:nvSpPr>
        <p:spPr bwMode="auto">
          <a:xfrm>
            <a:off x="3644900" y="1772816"/>
            <a:ext cx="3036888" cy="1540297"/>
          </a:xfrm>
          <a:prstGeom prst="roundRect">
            <a:avLst/>
          </a:prstGeom>
          <a:ln>
            <a:solidFill>
              <a:srgbClr val="C00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s-CO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470" name="52 CuadroTexto">
            <a:hlinkClick r:id="rId4" action="ppaction://hlinksldjump"/>
          </p:cNvPr>
          <p:cNvSpPr txBox="1">
            <a:spLocks noChangeArrowheads="1"/>
          </p:cNvSpPr>
          <p:nvPr/>
        </p:nvSpPr>
        <p:spPr bwMode="auto">
          <a:xfrm>
            <a:off x="3707904" y="1844824"/>
            <a:ext cx="2851150" cy="14388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342900" indent="-34290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ts val="1500"/>
              </a:lnSpc>
            </a:pPr>
            <a:r>
              <a:rPr lang="es-CO" sz="1400" b="1" dirty="0">
                <a:solidFill>
                  <a:srgbClr val="800000"/>
                </a:solidFill>
                <a:cs typeface="Arial" charset="0"/>
              </a:rPr>
              <a:t>2. </a:t>
            </a:r>
            <a:r>
              <a:rPr lang="es-CO" sz="1400" b="1" dirty="0" smtClean="0">
                <a:solidFill>
                  <a:srgbClr val="800000"/>
                </a:solidFill>
                <a:cs typeface="Arial" charset="0"/>
              </a:rPr>
              <a:t>Fomentar innovación y pertinencia  de la FTDH</a:t>
            </a:r>
          </a:p>
          <a:p>
            <a:pPr algn="ctr" eaLnBrk="1" hangingPunct="1">
              <a:lnSpc>
                <a:spcPts val="1500"/>
              </a:lnSpc>
            </a:pPr>
            <a:endParaRPr lang="es-CO" sz="1400" b="1" dirty="0" smtClean="0">
              <a:cs typeface="Arial" charset="0"/>
            </a:endParaRPr>
          </a:p>
          <a:p>
            <a:pPr eaLnBrk="1" hangingPunct="1">
              <a:lnSpc>
                <a:spcPts val="1500"/>
              </a:lnSpc>
            </a:pPr>
            <a:r>
              <a:rPr lang="es-CO" sz="12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a. Acciones CONPES 3674</a:t>
            </a:r>
          </a:p>
          <a:p>
            <a:pPr eaLnBrk="1" hangingPunct="1">
              <a:lnSpc>
                <a:spcPts val="1500"/>
              </a:lnSpc>
            </a:pPr>
            <a:r>
              <a:rPr lang="es-CO" sz="12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b. Marco </a:t>
            </a:r>
            <a:r>
              <a:rPr lang="es-CO" sz="1200" dirty="0" err="1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N</a:t>
            </a:r>
            <a:r>
              <a:rPr lang="es-CO" sz="1200" dirty="0" err="1" smtClean="0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al</a:t>
            </a:r>
            <a:r>
              <a:rPr lang="es-CO" sz="12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 de Cualificaciones FT</a:t>
            </a:r>
          </a:p>
          <a:p>
            <a:pPr eaLnBrk="1" hangingPunct="1">
              <a:lnSpc>
                <a:spcPts val="1500"/>
              </a:lnSpc>
            </a:pPr>
            <a:r>
              <a:rPr lang="es-CO" sz="12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 charset="0"/>
              </a:rPr>
              <a:t>c. Lengua extranjera  e internacionalización</a:t>
            </a:r>
            <a:endParaRPr lang="es-CO" sz="1200" dirty="0">
              <a:solidFill>
                <a:srgbClr val="C00000"/>
              </a:solidFill>
              <a:cs typeface="Arial"/>
            </a:endParaRPr>
          </a:p>
        </p:txBody>
      </p:sp>
      <p:sp>
        <p:nvSpPr>
          <p:cNvPr id="35" name="27 CuadroTexto">
            <a:hlinkClick r:id="rId5" action="ppaction://hlinksldjump"/>
          </p:cNvPr>
          <p:cNvSpPr txBox="1">
            <a:spLocks noChangeArrowheads="1"/>
          </p:cNvSpPr>
          <p:nvPr/>
        </p:nvSpPr>
        <p:spPr bwMode="auto">
          <a:xfrm>
            <a:off x="3575050" y="4781550"/>
            <a:ext cx="3322638" cy="17235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lvl="1" algn="ctr">
              <a:defRPr/>
            </a:pPr>
            <a:r>
              <a:rPr lang="es-ES" sz="1400" b="1" dirty="0">
                <a:solidFill>
                  <a:srgbClr val="800000"/>
                </a:solidFill>
                <a:latin typeface="Arial" pitchFamily="34" charset="0"/>
                <a:cs typeface="Arial" pitchFamily="34" charset="0"/>
              </a:rPr>
              <a:t>6. Fortalecimiento Institucional</a:t>
            </a:r>
          </a:p>
          <a:p>
            <a:pPr marL="0" lvl="1">
              <a:defRPr/>
            </a:pPr>
            <a:endParaRPr lang="es-ES" sz="800" b="1" dirty="0">
              <a:latin typeface="Arial" pitchFamily="34" charset="0"/>
              <a:cs typeface="Arial" pitchFamily="34" charset="0"/>
            </a:endParaRPr>
          </a:p>
          <a:p>
            <a:pPr marL="342900" lvl="1" indent="-342900">
              <a:buFontTx/>
              <a:buAutoNum type="alphaLcPeriod"/>
              <a:defRPr/>
            </a:pPr>
            <a:r>
              <a:rPr lang="es-CO" sz="12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Fortalecer </a:t>
            </a:r>
            <a:r>
              <a:rPr lang="es-CO" sz="1200" dirty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el modelo de gestión por </a:t>
            </a:r>
            <a:r>
              <a:rPr lang="es-CO" sz="12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procesos.</a:t>
            </a:r>
            <a:endParaRPr lang="es-CO" sz="1200" dirty="0">
              <a:solidFill>
                <a:schemeClr val="tx1">
                  <a:lumMod val="65000"/>
                  <a:lumOff val="35000"/>
                </a:schemeClr>
              </a:solidFill>
              <a:cs typeface="Arial" pitchFamily="34" charset="0"/>
            </a:endParaRPr>
          </a:p>
          <a:p>
            <a:pPr marL="0" lvl="1">
              <a:defRPr/>
            </a:pPr>
            <a:r>
              <a:rPr lang="es-CO" sz="12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b.     Fortalecer  sistema </a:t>
            </a:r>
            <a:r>
              <a:rPr lang="es-CO" sz="1200" dirty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de </a:t>
            </a:r>
            <a:r>
              <a:rPr lang="es-CO" sz="12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información   SIET y </a:t>
            </a:r>
            <a:r>
              <a:rPr lang="es-CO" sz="1200" dirty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promover su uso</a:t>
            </a:r>
          </a:p>
          <a:p>
            <a:pPr marL="342900" lvl="1" indent="-342900">
              <a:buFontTx/>
              <a:buAutoNum type="alphaLcPeriod" startAt="3"/>
              <a:defRPr/>
            </a:pPr>
            <a:r>
              <a:rPr lang="es-ES" sz="1200" dirty="0">
                <a:solidFill>
                  <a:schemeClr val="tx1">
                    <a:lumMod val="65000"/>
                    <a:lumOff val="35000"/>
                  </a:schemeClr>
                </a:solidFill>
                <a:ea typeface="Lucida Grande"/>
                <a:cs typeface="Arial"/>
              </a:rPr>
              <a:t>Garantizar la distribución equitativa, el seguimiento y el control a los recursos </a:t>
            </a:r>
            <a:r>
              <a:rPr lang="es-E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ea typeface="Lucida Grande"/>
                <a:cs typeface="Arial"/>
              </a:rPr>
              <a:t>de FTDH</a:t>
            </a:r>
            <a:endParaRPr lang="es-CO" sz="1200" dirty="0" smtClean="0">
              <a:solidFill>
                <a:schemeClr val="tx1">
                  <a:lumMod val="65000"/>
                  <a:lumOff val="35000"/>
                </a:schemeClr>
              </a:solidFill>
              <a:cs typeface="Arial" pitchFamily="34" charset="0"/>
            </a:endParaRPr>
          </a:p>
        </p:txBody>
      </p:sp>
      <p:sp>
        <p:nvSpPr>
          <p:cNvPr id="19472" name="35 Rectángulo">
            <a:hlinkClick r:id="rId6" action="ppaction://hlinksldjump"/>
          </p:cNvPr>
          <p:cNvSpPr>
            <a:spLocks noChangeArrowheads="1"/>
          </p:cNvSpPr>
          <p:nvPr/>
        </p:nvSpPr>
        <p:spPr bwMode="auto">
          <a:xfrm>
            <a:off x="251520" y="3429000"/>
            <a:ext cx="3106043" cy="10772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es-CO" sz="1400" b="1" dirty="0" smtClean="0">
                <a:solidFill>
                  <a:srgbClr val="800000"/>
                </a:solidFill>
                <a:cs typeface="Arial" charset="0"/>
              </a:rPr>
              <a:t>3</a:t>
            </a:r>
            <a:r>
              <a:rPr lang="es-CO" sz="1400" b="1" dirty="0">
                <a:solidFill>
                  <a:srgbClr val="800000"/>
                </a:solidFill>
                <a:cs typeface="Arial" charset="0"/>
              </a:rPr>
              <a:t>. </a:t>
            </a:r>
            <a:r>
              <a:rPr lang="es-ES" sz="1400" dirty="0">
                <a:solidFill>
                  <a:srgbClr val="800000"/>
                </a:solidFill>
                <a:cs typeface="Arial"/>
              </a:rPr>
              <a:t>Brindar asistencia técnica </a:t>
            </a:r>
            <a:r>
              <a:rPr lang="es-ES" sz="1400" dirty="0" smtClean="0">
                <a:solidFill>
                  <a:srgbClr val="800000"/>
                </a:solidFill>
                <a:cs typeface="Arial"/>
              </a:rPr>
              <a:t>efectiva a ET e IFTDH</a:t>
            </a:r>
          </a:p>
          <a:p>
            <a:r>
              <a:rPr lang="es-E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a. Diseño curricular</a:t>
            </a:r>
          </a:p>
          <a:p>
            <a:r>
              <a:rPr lang="es-E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b. SIET</a:t>
            </a:r>
          </a:p>
          <a:p>
            <a:r>
              <a:rPr lang="es-E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c. Certificación de calidad </a:t>
            </a:r>
            <a:endParaRPr lang="es-CO" sz="1400" b="1" dirty="0">
              <a:cs typeface="Arial" charset="0"/>
            </a:endParaRPr>
          </a:p>
        </p:txBody>
      </p:sp>
      <p:sp>
        <p:nvSpPr>
          <p:cNvPr id="19473" name="36 Rectángulo">
            <a:hlinkClick r:id="rId7" action="ppaction://hlinksldjump"/>
          </p:cNvPr>
          <p:cNvSpPr>
            <a:spLocks noChangeArrowheads="1"/>
          </p:cNvSpPr>
          <p:nvPr/>
        </p:nvSpPr>
        <p:spPr bwMode="auto">
          <a:xfrm>
            <a:off x="3713261" y="3356992"/>
            <a:ext cx="2874963" cy="1323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es-CO" sz="1400" b="1" dirty="0" smtClean="0">
                <a:solidFill>
                  <a:srgbClr val="800000"/>
                </a:solidFill>
                <a:cs typeface="Arial" charset="0"/>
              </a:rPr>
              <a:t>4</a:t>
            </a:r>
            <a:r>
              <a:rPr lang="es-CO" sz="1400" b="1" dirty="0">
                <a:solidFill>
                  <a:srgbClr val="800000"/>
                </a:solidFill>
                <a:cs typeface="Arial" charset="0"/>
              </a:rPr>
              <a:t>. </a:t>
            </a:r>
            <a:r>
              <a:rPr lang="es-ES" sz="1400" dirty="0">
                <a:solidFill>
                  <a:srgbClr val="800000"/>
                </a:solidFill>
                <a:cs typeface="Arial"/>
              </a:rPr>
              <a:t>Asegurar la articulación entre los niveles educativos </a:t>
            </a:r>
            <a:r>
              <a:rPr lang="es-ES" sz="1400" dirty="0" smtClean="0">
                <a:solidFill>
                  <a:srgbClr val="800000"/>
                </a:solidFill>
                <a:cs typeface="Arial"/>
              </a:rPr>
              <a:t>, aliados y </a:t>
            </a:r>
            <a:r>
              <a:rPr lang="es-ES" sz="1400" dirty="0">
                <a:solidFill>
                  <a:srgbClr val="800000"/>
                </a:solidFill>
                <a:cs typeface="Arial"/>
              </a:rPr>
              <a:t>el sector </a:t>
            </a:r>
            <a:r>
              <a:rPr lang="es-ES" sz="1400" dirty="0" smtClean="0">
                <a:solidFill>
                  <a:srgbClr val="800000"/>
                </a:solidFill>
                <a:cs typeface="Arial"/>
              </a:rPr>
              <a:t>productivo</a:t>
            </a:r>
          </a:p>
          <a:p>
            <a:pPr marL="228600" indent="-228600">
              <a:buAutoNum type="alphaLcPeriod"/>
            </a:pPr>
            <a:r>
              <a:rPr lang="es-E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Articulación  con EM Y ES</a:t>
            </a:r>
          </a:p>
          <a:p>
            <a:pPr marL="228600" indent="-228600">
              <a:buAutoNum type="alphaLcPeriod"/>
            </a:pPr>
            <a:r>
              <a:rPr lang="es-ES" sz="1200" dirty="0" smtClean="0">
                <a:solidFill>
                  <a:schemeClr val="tx1">
                    <a:lumMod val="65000"/>
                    <a:lumOff val="35000"/>
                  </a:schemeClr>
                </a:solidFill>
                <a:cs typeface="Arial"/>
              </a:rPr>
              <a:t>Aliados  y sector productivo</a:t>
            </a:r>
            <a:endParaRPr lang="es-CO" sz="1200" dirty="0">
              <a:solidFill>
                <a:schemeClr val="tx1">
                  <a:lumMod val="65000"/>
                  <a:lumOff val="35000"/>
                </a:schemeClr>
              </a:solidFill>
              <a:cs typeface="Arial"/>
            </a:endParaRPr>
          </a:p>
          <a:p>
            <a:endParaRPr lang="es-CO" sz="1400" b="1" dirty="0">
              <a:cs typeface="Arial" charset="0"/>
            </a:endParaRPr>
          </a:p>
        </p:txBody>
      </p:sp>
      <p:sp>
        <p:nvSpPr>
          <p:cNvPr id="38" name="37 Rectángulo redondeado"/>
          <p:cNvSpPr/>
          <p:nvPr/>
        </p:nvSpPr>
        <p:spPr bwMode="auto">
          <a:xfrm>
            <a:off x="1187624" y="1088457"/>
            <a:ext cx="6281738" cy="579437"/>
          </a:xfrm>
          <a:prstGeom prst="roundRect">
            <a:avLst/>
          </a:prstGeom>
          <a:ln>
            <a:solidFill>
              <a:schemeClr val="accent2">
                <a:lumMod val="5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lnSpc>
                <a:spcPts val="1800"/>
              </a:lnSpc>
              <a:defRPr/>
            </a:pPr>
            <a:r>
              <a:rPr lang="es-CO" sz="2000" dirty="0">
                <a:latin typeface="Arial" pitchFamily="34" charset="0"/>
                <a:cs typeface="Arial" pitchFamily="34" charset="0"/>
              </a:rPr>
              <a:t>Contribuir a la </a:t>
            </a:r>
            <a:r>
              <a:rPr lang="es-CO" sz="2000" dirty="0" smtClean="0">
                <a:latin typeface="Arial" pitchFamily="34" charset="0"/>
                <a:cs typeface="Arial" pitchFamily="34" charset="0"/>
              </a:rPr>
              <a:t>calidad y pertinencia de la formación del capital humano de </a:t>
            </a:r>
            <a:r>
              <a:rPr lang="es-CO" sz="2000" dirty="0">
                <a:latin typeface="Arial" pitchFamily="34" charset="0"/>
                <a:cs typeface="Arial" pitchFamily="34" charset="0"/>
              </a:rPr>
              <a:t>Colombia</a:t>
            </a:r>
          </a:p>
        </p:txBody>
      </p:sp>
      <p:sp>
        <p:nvSpPr>
          <p:cNvPr id="39" name="38 Rectángulo redondeado"/>
          <p:cNvSpPr/>
          <p:nvPr/>
        </p:nvSpPr>
        <p:spPr bwMode="auto">
          <a:xfrm>
            <a:off x="6785324" y="2171284"/>
            <a:ext cx="2035148" cy="878281"/>
          </a:xfrm>
          <a:prstGeom prst="roundRect">
            <a:avLst/>
          </a:prstGeom>
          <a:solidFill>
            <a:schemeClr val="accent2">
              <a:lumMod val="50000"/>
            </a:schemeClr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2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ropósitos</a:t>
            </a:r>
            <a:endParaRPr lang="es-CO" sz="2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39 Rectángulo redondeado"/>
          <p:cNvSpPr/>
          <p:nvPr/>
        </p:nvSpPr>
        <p:spPr bwMode="auto">
          <a:xfrm>
            <a:off x="6785324" y="3553559"/>
            <a:ext cx="2035148" cy="878281"/>
          </a:xfrm>
          <a:prstGeom prst="roundRect">
            <a:avLst/>
          </a:prstGeom>
          <a:solidFill>
            <a:schemeClr val="accent2">
              <a:lumMod val="50000"/>
            </a:schemeClr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2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ervicios y productos</a:t>
            </a:r>
            <a:endParaRPr lang="es-CO" sz="2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40 Rectángulo redondeado"/>
          <p:cNvSpPr/>
          <p:nvPr/>
        </p:nvSpPr>
        <p:spPr bwMode="auto">
          <a:xfrm>
            <a:off x="6903218" y="5344081"/>
            <a:ext cx="2035148" cy="878281"/>
          </a:xfrm>
          <a:prstGeom prst="roundRect">
            <a:avLst/>
          </a:prstGeom>
          <a:solidFill>
            <a:schemeClr val="accent2">
              <a:lumMod val="50000"/>
            </a:schemeClr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2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esarrollo institucional</a:t>
            </a:r>
            <a:endParaRPr lang="es-CO" sz="20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6" name="35 Rectángulo redondeado">
            <a:hlinkClick r:id="rId8" action="ppaction://hlinksldjump"/>
          </p:cNvPr>
          <p:cNvSpPr/>
          <p:nvPr/>
        </p:nvSpPr>
        <p:spPr bwMode="auto">
          <a:xfrm>
            <a:off x="244475" y="4653136"/>
            <a:ext cx="3113088" cy="1978025"/>
          </a:xfrm>
          <a:prstGeom prst="roundRect">
            <a:avLst/>
          </a:prstGeom>
          <a:ln>
            <a:solidFill>
              <a:srgbClr val="C00000"/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marL="0" lvl="1" algn="ctr">
              <a:defRPr/>
            </a:pPr>
            <a:r>
              <a:rPr lang="es-ES" sz="1400" b="1" dirty="0">
                <a:solidFill>
                  <a:srgbClr val="800000"/>
                </a:solidFill>
                <a:latin typeface="Arial" pitchFamily="34" charset="0"/>
                <a:cs typeface="Arial" pitchFamily="34" charset="0"/>
              </a:rPr>
              <a:t>5. </a:t>
            </a:r>
            <a:r>
              <a:rPr lang="es-ES" sz="1400" b="1" dirty="0" smtClean="0">
                <a:solidFill>
                  <a:srgbClr val="800000"/>
                </a:solidFill>
                <a:latin typeface="Arial" pitchFamily="34" charset="0"/>
                <a:cs typeface="Arial" pitchFamily="34" charset="0"/>
              </a:rPr>
              <a:t>Consolidar Sistema </a:t>
            </a:r>
            <a:r>
              <a:rPr lang="es-ES" sz="1400" b="1" dirty="0">
                <a:solidFill>
                  <a:srgbClr val="800000"/>
                </a:solidFill>
                <a:latin typeface="Arial" pitchFamily="34" charset="0"/>
                <a:cs typeface="Arial" pitchFamily="34" charset="0"/>
              </a:rPr>
              <a:t>Nacional de </a:t>
            </a:r>
            <a:r>
              <a:rPr lang="es-ES" sz="1400" b="1" dirty="0" smtClean="0">
                <a:solidFill>
                  <a:srgbClr val="800000"/>
                </a:solidFill>
                <a:latin typeface="Arial" pitchFamily="34" charset="0"/>
                <a:cs typeface="Arial" pitchFamily="34" charset="0"/>
              </a:rPr>
              <a:t>Formación</a:t>
            </a:r>
            <a:r>
              <a:rPr lang="es-ES" sz="1400" dirty="0" smtClean="0">
                <a:solidFill>
                  <a:srgbClr val="800000"/>
                </a:solidFill>
                <a:latin typeface="Arial" pitchFamily="34" charset="0"/>
                <a:cs typeface="Arial" pitchFamily="34" charset="0"/>
              </a:rPr>
              <a:t> para el Trabajo</a:t>
            </a:r>
          </a:p>
          <a:p>
            <a:pPr marL="0" lvl="1" algn="ctr">
              <a:defRPr/>
            </a:pPr>
            <a:endParaRPr lang="es-ES" sz="1400" b="1" dirty="0">
              <a:latin typeface="Arial" pitchFamily="34" charset="0"/>
              <a:cs typeface="Arial" pitchFamily="34" charset="0"/>
            </a:endParaRPr>
          </a:p>
          <a:p>
            <a:pPr marL="228600" indent="-228600">
              <a:buFont typeface="+mj-lt"/>
              <a:buAutoNum type="alphaLcPeriod"/>
              <a:defRPr/>
            </a:pPr>
            <a:r>
              <a:rPr lang="es-CO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Redes </a:t>
            </a:r>
            <a:r>
              <a:rPr lang="es-CO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Nacionales e Internacionales de FT</a:t>
            </a:r>
            <a:endParaRPr lang="es-CO" sz="1200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0" lvl="1">
              <a:defRPr/>
            </a:pPr>
            <a:r>
              <a:rPr lang="es-CO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b.  Observatorio Laboral</a:t>
            </a:r>
            <a:endParaRPr lang="es-CO" sz="1200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marL="228600" indent="-228600">
              <a:buAutoNum type="alphaLcPeriod" startAt="3"/>
              <a:defRPr/>
            </a:pPr>
            <a:r>
              <a:rPr lang="es-CO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Investigación  y Desarrollo </a:t>
            </a:r>
          </a:p>
          <a:p>
            <a:pPr>
              <a:defRPr/>
            </a:pPr>
            <a:r>
              <a:rPr lang="es-CO" sz="1200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     Tecnológico</a:t>
            </a:r>
          </a:p>
          <a:p>
            <a:pPr>
              <a:defRPr/>
            </a:pPr>
            <a:endParaRPr lang="es-CO" sz="12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25 CuadroTexto"/>
          <p:cNvSpPr txBox="1"/>
          <p:nvPr/>
        </p:nvSpPr>
        <p:spPr>
          <a:xfrm>
            <a:off x="5220073" y="447055"/>
            <a:ext cx="3923928" cy="461665"/>
          </a:xfrm>
          <a:prstGeom prst="rect">
            <a:avLst/>
          </a:prstGeom>
          <a:solidFill>
            <a:srgbClr val="800000"/>
          </a:solidFill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 eaLnBrk="0" hangingPunct="0">
              <a:defRPr/>
            </a:pPr>
            <a:r>
              <a:rPr lang="es-CO" dirty="0" smtClean="0">
                <a:solidFill>
                  <a:schemeClr val="bg1"/>
                </a:solidFill>
                <a:latin typeface="Arial MT"/>
              </a:rPr>
              <a:t>MODELO ESTRATÉGICO</a:t>
            </a:r>
            <a:endParaRPr lang="es-ES" b="1" dirty="0">
              <a:solidFill>
                <a:schemeClr val="bg1"/>
              </a:solidFill>
              <a:latin typeface="Arial MT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5386199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1 Título"/>
          <p:cNvSpPr>
            <a:spLocks noGrp="1"/>
          </p:cNvSpPr>
          <p:nvPr>
            <p:ph type="title"/>
          </p:nvPr>
        </p:nvSpPr>
        <p:spPr>
          <a:xfrm>
            <a:off x="5043077" y="620688"/>
            <a:ext cx="4077380" cy="504056"/>
          </a:xfrm>
        </p:spPr>
        <p:txBody>
          <a:bodyPr/>
          <a:lstStyle/>
          <a:p>
            <a:pPr>
              <a:defRPr/>
            </a:pPr>
            <a:r>
              <a:rPr lang="es-CO" b="1" i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Arial" pitchFamily="34" charset="0"/>
              </a:rPr>
              <a:t>Contenido</a:t>
            </a:r>
          </a:p>
        </p:txBody>
      </p:sp>
      <p:sp>
        <p:nvSpPr>
          <p:cNvPr id="21" name="AutoShape 9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103734" y="1772816"/>
            <a:ext cx="5420594" cy="668396"/>
          </a:xfrm>
          <a:prstGeom prst="roundRect">
            <a:avLst>
              <a:gd name="adj" fmla="val 50000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wrap="none" anchor="ctr"/>
          <a:lstStyle/>
          <a:p>
            <a:pPr>
              <a:defRPr/>
            </a:pPr>
            <a:endParaRPr lang="en-GB" sz="2000" b="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2" name="Rectangle 10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338783" y="2025713"/>
            <a:ext cx="4969744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266700" lvl="1" indent="-266700" defTabSz="895350">
              <a:spcBef>
                <a:spcPct val="60000"/>
              </a:spcBef>
              <a:spcAft>
                <a:spcPct val="60000"/>
              </a:spcAft>
              <a:buClr>
                <a:schemeClr val="bg1"/>
              </a:buClr>
              <a:buFont typeface="Wingdings" pitchFamily="2" charset="2"/>
              <a:buChar char="§"/>
              <a:defRPr/>
            </a:pPr>
            <a:r>
              <a:rPr lang="es-CO" sz="1800" dirty="0" smtClean="0">
                <a:solidFill>
                  <a:srgbClr val="5F5F5F"/>
                </a:solidFill>
              </a:rPr>
              <a:t>Contexto</a:t>
            </a:r>
            <a:endParaRPr lang="es-CO" sz="1800" dirty="0">
              <a:solidFill>
                <a:srgbClr val="5F5F5F"/>
              </a:solidFill>
            </a:endParaRPr>
          </a:p>
        </p:txBody>
      </p:sp>
      <p:sp>
        <p:nvSpPr>
          <p:cNvPr id="23" name="AutoShape 9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103734" y="2657236"/>
            <a:ext cx="5420594" cy="668396"/>
          </a:xfrm>
          <a:prstGeom prst="roundRect">
            <a:avLst>
              <a:gd name="adj" fmla="val 50000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wrap="none" anchor="ctr"/>
          <a:lstStyle/>
          <a:p>
            <a:pPr>
              <a:defRPr/>
            </a:pPr>
            <a:endParaRPr lang="en-GB" sz="2000" b="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4" name="Rectangle 10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338783" y="2910133"/>
            <a:ext cx="4969744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266700" lvl="1" indent="-266700" defTabSz="895350">
              <a:spcBef>
                <a:spcPct val="60000"/>
              </a:spcBef>
              <a:spcAft>
                <a:spcPct val="60000"/>
              </a:spcAft>
              <a:buClr>
                <a:schemeClr val="bg1"/>
              </a:buClr>
              <a:buFont typeface="Wingdings" pitchFamily="2" charset="2"/>
              <a:buChar char="§"/>
              <a:defRPr/>
            </a:pPr>
            <a:r>
              <a:rPr lang="es-CO" sz="1800" dirty="0" smtClean="0">
                <a:solidFill>
                  <a:srgbClr val="5F5F5F"/>
                </a:solidFill>
              </a:rPr>
              <a:t>Estado actual</a:t>
            </a:r>
            <a:endParaRPr lang="es-CO" sz="1800" dirty="0">
              <a:solidFill>
                <a:srgbClr val="5F5F5F"/>
              </a:solidFill>
            </a:endParaRPr>
          </a:p>
        </p:txBody>
      </p:sp>
      <p:sp>
        <p:nvSpPr>
          <p:cNvPr id="26" name="AutoShape 9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103734" y="3521332"/>
            <a:ext cx="5420594" cy="668396"/>
          </a:xfrm>
          <a:prstGeom prst="roundRect">
            <a:avLst>
              <a:gd name="adj" fmla="val 50000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wrap="none" anchor="ctr"/>
          <a:lstStyle/>
          <a:p>
            <a:pPr>
              <a:defRPr/>
            </a:pPr>
            <a:endParaRPr lang="en-GB" sz="2000" b="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27" name="Rectangle 10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338783" y="3774229"/>
            <a:ext cx="4969744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266700" lvl="1" indent="-266700" defTabSz="895350">
              <a:spcBef>
                <a:spcPct val="60000"/>
              </a:spcBef>
              <a:spcAft>
                <a:spcPct val="60000"/>
              </a:spcAft>
              <a:buClr>
                <a:schemeClr val="bg1"/>
              </a:buClr>
              <a:buFont typeface="Wingdings" pitchFamily="2" charset="2"/>
              <a:buChar char="§"/>
              <a:defRPr/>
            </a:pPr>
            <a:r>
              <a:rPr lang="es-CO" sz="1800" dirty="0" smtClean="0">
                <a:solidFill>
                  <a:srgbClr val="5F5F5F"/>
                </a:solidFill>
              </a:rPr>
              <a:t>Modelo estratégico</a:t>
            </a:r>
            <a:endParaRPr lang="es-CO" sz="1800" dirty="0">
              <a:solidFill>
                <a:srgbClr val="5F5F5F"/>
              </a:solidFill>
            </a:endParaRPr>
          </a:p>
        </p:txBody>
      </p:sp>
      <p:sp>
        <p:nvSpPr>
          <p:cNvPr id="33" name="Rectangle 5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 flipH="1">
            <a:off x="6697140" y="4406913"/>
            <a:ext cx="1907308" cy="677689"/>
          </a:xfrm>
          <a:prstGeom prst="rect">
            <a:avLst/>
          </a:prstGeom>
          <a:solidFill>
            <a:srgbClr val="FFFF00"/>
          </a:solidFill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>
              <a:defRPr/>
            </a:pPr>
            <a:endParaRPr lang="en-GB" sz="2000" b="0"/>
          </a:p>
        </p:txBody>
      </p:sp>
      <p:sp>
        <p:nvSpPr>
          <p:cNvPr id="34" name="AutoShape 6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 flipH="1">
            <a:off x="6698952" y="4334906"/>
            <a:ext cx="1041400" cy="77060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GB" sz="2000" b="0"/>
          </a:p>
        </p:txBody>
      </p:sp>
      <p:sp>
        <p:nvSpPr>
          <p:cNvPr id="35" name="Rectangle 7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755576" y="4406913"/>
            <a:ext cx="1670274" cy="698595"/>
          </a:xfrm>
          <a:prstGeom prst="rect">
            <a:avLst/>
          </a:prstGeom>
          <a:solidFill>
            <a:srgbClr val="FFFF00"/>
          </a:solidFill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>
              <a:defRPr/>
            </a:pPr>
            <a:endParaRPr lang="en-GB" sz="2000" b="0"/>
          </a:p>
        </p:txBody>
      </p:sp>
      <p:sp>
        <p:nvSpPr>
          <p:cNvPr id="36" name="AutoShape 8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1771353" y="4334905"/>
            <a:ext cx="1107976" cy="77060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/>
            <a:endParaRPr lang="en-GB" sz="2000"/>
          </a:p>
        </p:txBody>
      </p:sp>
      <p:sp>
        <p:nvSpPr>
          <p:cNvPr id="37" name="AutoShape 9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2068215" y="4407484"/>
            <a:ext cx="5456337" cy="698023"/>
          </a:xfrm>
          <a:prstGeom prst="roundRect">
            <a:avLst>
              <a:gd name="adj" fmla="val 50000"/>
            </a:avLst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wrap="none" anchor="ctr"/>
          <a:lstStyle/>
          <a:p>
            <a:pPr>
              <a:defRPr/>
            </a:pPr>
            <a:endParaRPr lang="en-GB" sz="1600" b="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38" name="Rectangle 10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2303264" y="4622937"/>
            <a:ext cx="5221288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marL="266700" lvl="1" indent="-266700" defTabSz="895350">
              <a:spcBef>
                <a:spcPct val="60000"/>
              </a:spcBef>
              <a:spcAft>
                <a:spcPct val="60000"/>
              </a:spcAft>
              <a:buClr>
                <a:schemeClr val="bg1"/>
              </a:buClr>
              <a:buFont typeface="Wingdings" pitchFamily="2" charset="2"/>
              <a:buChar char="§"/>
              <a:defRPr/>
            </a:pPr>
            <a:r>
              <a:rPr lang="es-CO" sz="2000" dirty="0" smtClean="0">
                <a:ln w="18415" cmpd="sng">
                  <a:noFill/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ea typeface="MS PGothic" pitchFamily="34" charset="-128"/>
              </a:rPr>
              <a:t>Sistema de aseguramiento</a:t>
            </a:r>
            <a:endParaRPr lang="es-CO" sz="2000" dirty="0">
              <a:ln w="18415" cmpd="sng">
                <a:noFill/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ea typeface="MS PGothic" pitchFamily="34" charset="-128"/>
            </a:endParaRPr>
          </a:p>
        </p:txBody>
      </p:sp>
      <p:sp>
        <p:nvSpPr>
          <p:cNvPr id="16" name="AutoShape 9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2123728" y="5229200"/>
            <a:ext cx="5420594" cy="668396"/>
          </a:xfrm>
          <a:prstGeom prst="roundRect">
            <a:avLst>
              <a:gd name="adj" fmla="val 50000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wrap="none" anchor="ctr"/>
          <a:lstStyle/>
          <a:p>
            <a:pPr>
              <a:defRPr/>
            </a:pPr>
            <a:endParaRPr lang="en-GB" sz="2000" b="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7" name="Rectangle 10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2358777" y="5482097"/>
            <a:ext cx="4969744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266700" lvl="1" indent="-266700" defTabSz="895350">
              <a:spcBef>
                <a:spcPct val="60000"/>
              </a:spcBef>
              <a:spcAft>
                <a:spcPct val="60000"/>
              </a:spcAft>
              <a:buClr>
                <a:schemeClr val="bg1"/>
              </a:buClr>
              <a:buFont typeface="Wingdings" pitchFamily="2" charset="2"/>
              <a:buChar char="§"/>
              <a:defRPr/>
            </a:pPr>
            <a:r>
              <a:rPr lang="es-CO" sz="1800" dirty="0" smtClean="0">
                <a:solidFill>
                  <a:srgbClr val="5F5F5F"/>
                </a:solidFill>
              </a:rPr>
              <a:t>Gestión desde las Entidades Territoriales</a:t>
            </a:r>
            <a:endParaRPr lang="es-CO" sz="1800" dirty="0">
              <a:solidFill>
                <a:srgbClr val="5F5F5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8266948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1556792"/>
            <a:ext cx="8136903" cy="44644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4113902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1 Título"/>
          <p:cNvSpPr txBox="1">
            <a:spLocks/>
          </p:cNvSpPr>
          <p:nvPr/>
        </p:nvSpPr>
        <p:spPr bwMode="auto">
          <a:xfrm>
            <a:off x="3180876" y="44302"/>
            <a:ext cx="6215660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defPPr>
              <a:defRPr lang="en-US"/>
            </a:defPPr>
            <a:lvl1pPr marL="342900" indent="-342900" algn="ctr" eaLnBrk="0" hangingPunct="0">
              <a:spcBef>
                <a:spcPct val="20000"/>
              </a:spcBef>
              <a:defRPr i="1" ker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s-ES" sz="2800" dirty="0" smtClean="0">
                <a:solidFill>
                  <a:srgbClr val="800000"/>
                </a:solidFill>
              </a:rPr>
              <a:t>Modelo del Sistema de Aseguramiento de Calidad para la ETDH</a:t>
            </a:r>
            <a:endParaRPr lang="es-CO" sz="2800" dirty="0">
              <a:solidFill>
                <a:srgbClr val="800000"/>
              </a:solidFill>
            </a:endParaRPr>
          </a:p>
        </p:txBody>
      </p:sp>
      <p:grpSp>
        <p:nvGrpSpPr>
          <p:cNvPr id="2" name="132 Grupo"/>
          <p:cNvGrpSpPr/>
          <p:nvPr/>
        </p:nvGrpSpPr>
        <p:grpSpPr>
          <a:xfrm>
            <a:off x="179512" y="1052736"/>
            <a:ext cx="8569201" cy="5667375"/>
            <a:chOff x="179512" y="1190625"/>
            <a:chExt cx="8569201" cy="5667375"/>
          </a:xfrm>
        </p:grpSpPr>
        <p:sp>
          <p:nvSpPr>
            <p:cNvPr id="6" name="5 Rectángulo"/>
            <p:cNvSpPr/>
            <p:nvPr/>
          </p:nvSpPr>
          <p:spPr>
            <a:xfrm>
              <a:off x="4716785" y="2464951"/>
              <a:ext cx="4031928" cy="3018467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ctr">
              <a:spAutoFit/>
              <a:scene3d>
                <a:camera prst="orthographicFront">
                  <a:rot lat="0" lon="0" rev="0"/>
                </a:camera>
                <a:lightRig rig="contrasting" dir="t">
                  <a:rot lat="0" lon="0" rev="4500000"/>
                </a:lightRig>
              </a:scene3d>
              <a:sp3d contourW="6350" prstMaterial="metal">
                <a:bevelT w="127000" h="31750" prst="relaxedInset"/>
                <a:contourClr>
                  <a:schemeClr val="accent1">
                    <a:shade val="75000"/>
                  </a:schemeClr>
                </a:contourClr>
              </a:sp3d>
            </a:bodyPr>
            <a:lstStyle/>
            <a:p>
              <a:pPr algn="ctr"/>
              <a:endParaRPr lang="es-CO" sz="2000" cap="all" dirty="0" smtClean="0">
                <a:ln w="0"/>
                <a:gradFill flip="none">
                  <a:gsLst>
                    <a:gs pos="0">
                      <a:schemeClr val="accent1">
                        <a:tint val="75000"/>
                        <a:shade val="75000"/>
                        <a:satMod val="170000"/>
                      </a:schemeClr>
                    </a:gs>
                    <a:gs pos="49000">
                      <a:schemeClr val="accent1">
                        <a:tint val="88000"/>
                        <a:shade val="65000"/>
                        <a:satMod val="172000"/>
                      </a:schemeClr>
                    </a:gs>
                    <a:gs pos="50000">
                      <a:schemeClr val="accent1">
                        <a:shade val="65000"/>
                        <a:satMod val="130000"/>
                      </a:schemeClr>
                    </a:gs>
                    <a:gs pos="92000">
                      <a:schemeClr val="accent1">
                        <a:shade val="50000"/>
                        <a:satMod val="120000"/>
                      </a:schemeClr>
                    </a:gs>
                    <a:gs pos="100000">
                      <a:schemeClr val="accent1">
                        <a:shade val="48000"/>
                        <a:satMod val="120000"/>
                      </a:schemeClr>
                    </a:gs>
                  </a:gsLst>
                  <a:lin ang="5400000"/>
                </a:gradFill>
                <a:effectLst>
                  <a:reflection blurRad="12700" stA="50000" endPos="50000" dist="5000" dir="5400000" sy="-100000" rotWithShape="0"/>
                </a:effectLst>
                <a:latin typeface="Arial Rounded MT Bold" pitchFamily="34" charset="0"/>
              </a:endParaRPr>
            </a:p>
          </p:txBody>
        </p:sp>
        <p:grpSp>
          <p:nvGrpSpPr>
            <p:cNvPr id="3" name="Group 67"/>
            <p:cNvGrpSpPr>
              <a:grpSpLocks noChangeAspect="1"/>
            </p:cNvGrpSpPr>
            <p:nvPr/>
          </p:nvGrpSpPr>
          <p:grpSpPr bwMode="auto">
            <a:xfrm>
              <a:off x="179512" y="1190625"/>
              <a:ext cx="8388350" cy="5667375"/>
              <a:chOff x="158" y="618"/>
              <a:chExt cx="5284" cy="3570"/>
            </a:xfrm>
          </p:grpSpPr>
          <p:sp>
            <p:nvSpPr>
              <p:cNvPr id="1090" name="AutoShape 66"/>
              <p:cNvSpPr>
                <a:spLocks noChangeAspect="1" noChangeArrowheads="1" noTextEdit="1"/>
              </p:cNvSpPr>
              <p:nvPr/>
            </p:nvSpPr>
            <p:spPr bwMode="auto">
              <a:xfrm>
                <a:off x="158" y="618"/>
                <a:ext cx="5284" cy="357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sp>
            <p:nvSpPr>
              <p:cNvPr id="1092" name="Rectangle 68"/>
              <p:cNvSpPr>
                <a:spLocks noChangeArrowheads="1"/>
              </p:cNvSpPr>
              <p:nvPr/>
            </p:nvSpPr>
            <p:spPr bwMode="auto">
              <a:xfrm>
                <a:off x="513" y="659"/>
                <a:ext cx="4926" cy="1250"/>
              </a:xfrm>
              <a:prstGeom prst="rect">
                <a:avLst/>
              </a:prstGeom>
              <a:solidFill>
                <a:srgbClr val="F2F2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sp>
            <p:nvSpPr>
              <p:cNvPr id="1093" name="Freeform 69"/>
              <p:cNvSpPr>
                <a:spLocks noEditPoints="1"/>
              </p:cNvSpPr>
              <p:nvPr/>
            </p:nvSpPr>
            <p:spPr bwMode="auto">
              <a:xfrm>
                <a:off x="510" y="654"/>
                <a:ext cx="4932" cy="1259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12" y="0"/>
                  </a:cxn>
                  <a:cxn ang="0">
                    <a:pos x="19056" y="0"/>
                  </a:cxn>
                  <a:cxn ang="0">
                    <a:pos x="19068" y="12"/>
                  </a:cxn>
                  <a:cxn ang="0">
                    <a:pos x="19068" y="3372"/>
                  </a:cxn>
                  <a:cxn ang="0">
                    <a:pos x="19056" y="3384"/>
                  </a:cxn>
                  <a:cxn ang="0">
                    <a:pos x="12" y="3384"/>
                  </a:cxn>
                  <a:cxn ang="0">
                    <a:pos x="0" y="3372"/>
                  </a:cxn>
                  <a:cxn ang="0">
                    <a:pos x="0" y="12"/>
                  </a:cxn>
                  <a:cxn ang="0">
                    <a:pos x="24" y="3372"/>
                  </a:cxn>
                  <a:cxn ang="0">
                    <a:pos x="12" y="3360"/>
                  </a:cxn>
                  <a:cxn ang="0">
                    <a:pos x="19056" y="3360"/>
                  </a:cxn>
                  <a:cxn ang="0">
                    <a:pos x="19044" y="3372"/>
                  </a:cxn>
                  <a:cxn ang="0">
                    <a:pos x="19044" y="12"/>
                  </a:cxn>
                  <a:cxn ang="0">
                    <a:pos x="19056" y="24"/>
                  </a:cxn>
                  <a:cxn ang="0">
                    <a:pos x="12" y="24"/>
                  </a:cxn>
                  <a:cxn ang="0">
                    <a:pos x="24" y="12"/>
                  </a:cxn>
                  <a:cxn ang="0">
                    <a:pos x="24" y="3372"/>
                  </a:cxn>
                </a:cxnLst>
                <a:rect l="0" t="0" r="r" b="b"/>
                <a:pathLst>
                  <a:path w="19068" h="3384">
                    <a:moveTo>
                      <a:pt x="0" y="12"/>
                    </a:moveTo>
                    <a:cubicBezTo>
                      <a:pt x="0" y="6"/>
                      <a:pt x="6" y="0"/>
                      <a:pt x="12" y="0"/>
                    </a:cubicBezTo>
                    <a:lnTo>
                      <a:pt x="19056" y="0"/>
                    </a:lnTo>
                    <a:cubicBezTo>
                      <a:pt x="19063" y="0"/>
                      <a:pt x="19068" y="6"/>
                      <a:pt x="19068" y="12"/>
                    </a:cubicBezTo>
                    <a:lnTo>
                      <a:pt x="19068" y="3372"/>
                    </a:lnTo>
                    <a:cubicBezTo>
                      <a:pt x="19068" y="3379"/>
                      <a:pt x="19063" y="3384"/>
                      <a:pt x="19056" y="3384"/>
                    </a:cubicBezTo>
                    <a:lnTo>
                      <a:pt x="12" y="3384"/>
                    </a:lnTo>
                    <a:cubicBezTo>
                      <a:pt x="6" y="3384"/>
                      <a:pt x="0" y="3379"/>
                      <a:pt x="0" y="3372"/>
                    </a:cubicBezTo>
                    <a:lnTo>
                      <a:pt x="0" y="12"/>
                    </a:lnTo>
                    <a:close/>
                    <a:moveTo>
                      <a:pt x="24" y="3372"/>
                    </a:moveTo>
                    <a:lnTo>
                      <a:pt x="12" y="3360"/>
                    </a:lnTo>
                    <a:lnTo>
                      <a:pt x="19056" y="3360"/>
                    </a:lnTo>
                    <a:lnTo>
                      <a:pt x="19044" y="3372"/>
                    </a:lnTo>
                    <a:lnTo>
                      <a:pt x="19044" y="12"/>
                    </a:lnTo>
                    <a:lnTo>
                      <a:pt x="19056" y="24"/>
                    </a:lnTo>
                    <a:lnTo>
                      <a:pt x="12" y="24"/>
                    </a:lnTo>
                    <a:lnTo>
                      <a:pt x="24" y="12"/>
                    </a:lnTo>
                    <a:lnTo>
                      <a:pt x="24" y="3372"/>
                    </a:lnTo>
                    <a:close/>
                  </a:path>
                </a:pathLst>
              </a:custGeom>
              <a:solidFill>
                <a:srgbClr val="9BBB59"/>
              </a:solidFill>
              <a:ln w="0" cap="flat">
                <a:solidFill>
                  <a:srgbClr val="9BBB5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sp>
            <p:nvSpPr>
              <p:cNvPr id="1094" name="Rectangle 70"/>
              <p:cNvSpPr>
                <a:spLocks noChangeArrowheads="1"/>
              </p:cNvSpPr>
              <p:nvPr/>
            </p:nvSpPr>
            <p:spPr bwMode="auto">
              <a:xfrm>
                <a:off x="513" y="1909"/>
                <a:ext cx="4926" cy="1211"/>
              </a:xfrm>
              <a:prstGeom prst="rect">
                <a:avLst/>
              </a:prstGeom>
              <a:solidFill>
                <a:srgbClr val="D9D9D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sp>
            <p:nvSpPr>
              <p:cNvPr id="1095" name="Freeform 71"/>
              <p:cNvSpPr>
                <a:spLocks noEditPoints="1"/>
              </p:cNvSpPr>
              <p:nvPr/>
            </p:nvSpPr>
            <p:spPr bwMode="auto">
              <a:xfrm>
                <a:off x="510" y="1905"/>
                <a:ext cx="4932" cy="1220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12" y="0"/>
                  </a:cxn>
                  <a:cxn ang="0">
                    <a:pos x="19056" y="0"/>
                  </a:cxn>
                  <a:cxn ang="0">
                    <a:pos x="19068" y="12"/>
                  </a:cxn>
                  <a:cxn ang="0">
                    <a:pos x="19068" y="3268"/>
                  </a:cxn>
                  <a:cxn ang="0">
                    <a:pos x="19056" y="3280"/>
                  </a:cxn>
                  <a:cxn ang="0">
                    <a:pos x="12" y="3280"/>
                  </a:cxn>
                  <a:cxn ang="0">
                    <a:pos x="0" y="3268"/>
                  </a:cxn>
                  <a:cxn ang="0">
                    <a:pos x="0" y="12"/>
                  </a:cxn>
                  <a:cxn ang="0">
                    <a:pos x="24" y="3268"/>
                  </a:cxn>
                  <a:cxn ang="0">
                    <a:pos x="12" y="3256"/>
                  </a:cxn>
                  <a:cxn ang="0">
                    <a:pos x="19056" y="3256"/>
                  </a:cxn>
                  <a:cxn ang="0">
                    <a:pos x="19044" y="3268"/>
                  </a:cxn>
                  <a:cxn ang="0">
                    <a:pos x="19044" y="12"/>
                  </a:cxn>
                  <a:cxn ang="0">
                    <a:pos x="19056" y="24"/>
                  </a:cxn>
                  <a:cxn ang="0">
                    <a:pos x="12" y="24"/>
                  </a:cxn>
                  <a:cxn ang="0">
                    <a:pos x="24" y="12"/>
                  </a:cxn>
                  <a:cxn ang="0">
                    <a:pos x="24" y="3268"/>
                  </a:cxn>
                </a:cxnLst>
                <a:rect l="0" t="0" r="r" b="b"/>
                <a:pathLst>
                  <a:path w="19068" h="3280">
                    <a:moveTo>
                      <a:pt x="0" y="12"/>
                    </a:moveTo>
                    <a:cubicBezTo>
                      <a:pt x="0" y="6"/>
                      <a:pt x="6" y="0"/>
                      <a:pt x="12" y="0"/>
                    </a:cubicBezTo>
                    <a:lnTo>
                      <a:pt x="19056" y="0"/>
                    </a:lnTo>
                    <a:cubicBezTo>
                      <a:pt x="19063" y="0"/>
                      <a:pt x="19068" y="6"/>
                      <a:pt x="19068" y="12"/>
                    </a:cubicBezTo>
                    <a:lnTo>
                      <a:pt x="19068" y="3268"/>
                    </a:lnTo>
                    <a:cubicBezTo>
                      <a:pt x="19068" y="3275"/>
                      <a:pt x="19063" y="3280"/>
                      <a:pt x="19056" y="3280"/>
                    </a:cubicBezTo>
                    <a:lnTo>
                      <a:pt x="12" y="3280"/>
                    </a:lnTo>
                    <a:cubicBezTo>
                      <a:pt x="6" y="3280"/>
                      <a:pt x="0" y="3275"/>
                      <a:pt x="0" y="3268"/>
                    </a:cubicBezTo>
                    <a:lnTo>
                      <a:pt x="0" y="12"/>
                    </a:lnTo>
                    <a:close/>
                    <a:moveTo>
                      <a:pt x="24" y="3268"/>
                    </a:moveTo>
                    <a:lnTo>
                      <a:pt x="12" y="3256"/>
                    </a:lnTo>
                    <a:lnTo>
                      <a:pt x="19056" y="3256"/>
                    </a:lnTo>
                    <a:lnTo>
                      <a:pt x="19044" y="3268"/>
                    </a:lnTo>
                    <a:lnTo>
                      <a:pt x="19044" y="12"/>
                    </a:lnTo>
                    <a:lnTo>
                      <a:pt x="19056" y="24"/>
                    </a:lnTo>
                    <a:lnTo>
                      <a:pt x="12" y="24"/>
                    </a:lnTo>
                    <a:lnTo>
                      <a:pt x="24" y="12"/>
                    </a:lnTo>
                    <a:lnTo>
                      <a:pt x="24" y="3268"/>
                    </a:lnTo>
                    <a:close/>
                  </a:path>
                </a:pathLst>
              </a:custGeom>
              <a:solidFill>
                <a:srgbClr val="9BBB59"/>
              </a:solidFill>
              <a:ln w="0" cap="flat">
                <a:solidFill>
                  <a:srgbClr val="9BBB5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sp>
            <p:nvSpPr>
              <p:cNvPr id="1096" name="Rectangle 72"/>
              <p:cNvSpPr>
                <a:spLocks noChangeArrowheads="1"/>
              </p:cNvSpPr>
              <p:nvPr/>
            </p:nvSpPr>
            <p:spPr bwMode="auto">
              <a:xfrm>
                <a:off x="513" y="3120"/>
                <a:ext cx="4926" cy="1003"/>
              </a:xfrm>
              <a:prstGeom prst="rect">
                <a:avLst/>
              </a:prstGeom>
              <a:solidFill>
                <a:srgbClr val="FEF0FA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sp>
            <p:nvSpPr>
              <p:cNvPr id="1097" name="Freeform 73"/>
              <p:cNvSpPr>
                <a:spLocks noEditPoints="1"/>
              </p:cNvSpPr>
              <p:nvPr/>
            </p:nvSpPr>
            <p:spPr bwMode="auto">
              <a:xfrm>
                <a:off x="510" y="3116"/>
                <a:ext cx="4932" cy="1012"/>
              </a:xfrm>
              <a:custGeom>
                <a:avLst/>
                <a:gdLst/>
                <a:ahLst/>
                <a:cxnLst>
                  <a:cxn ang="0">
                    <a:pos x="0" y="12"/>
                  </a:cxn>
                  <a:cxn ang="0">
                    <a:pos x="12" y="0"/>
                  </a:cxn>
                  <a:cxn ang="0">
                    <a:pos x="19056" y="0"/>
                  </a:cxn>
                  <a:cxn ang="0">
                    <a:pos x="19068" y="12"/>
                  </a:cxn>
                  <a:cxn ang="0">
                    <a:pos x="19068" y="2708"/>
                  </a:cxn>
                  <a:cxn ang="0">
                    <a:pos x="19056" y="2720"/>
                  </a:cxn>
                  <a:cxn ang="0">
                    <a:pos x="12" y="2720"/>
                  </a:cxn>
                  <a:cxn ang="0">
                    <a:pos x="0" y="2708"/>
                  </a:cxn>
                  <a:cxn ang="0">
                    <a:pos x="0" y="12"/>
                  </a:cxn>
                  <a:cxn ang="0">
                    <a:pos x="24" y="2708"/>
                  </a:cxn>
                  <a:cxn ang="0">
                    <a:pos x="12" y="2696"/>
                  </a:cxn>
                  <a:cxn ang="0">
                    <a:pos x="19056" y="2696"/>
                  </a:cxn>
                  <a:cxn ang="0">
                    <a:pos x="19044" y="2708"/>
                  </a:cxn>
                  <a:cxn ang="0">
                    <a:pos x="19044" y="12"/>
                  </a:cxn>
                  <a:cxn ang="0">
                    <a:pos x="19056" y="24"/>
                  </a:cxn>
                  <a:cxn ang="0">
                    <a:pos x="12" y="24"/>
                  </a:cxn>
                  <a:cxn ang="0">
                    <a:pos x="24" y="12"/>
                  </a:cxn>
                  <a:cxn ang="0">
                    <a:pos x="24" y="2708"/>
                  </a:cxn>
                </a:cxnLst>
                <a:rect l="0" t="0" r="r" b="b"/>
                <a:pathLst>
                  <a:path w="19068" h="2720">
                    <a:moveTo>
                      <a:pt x="0" y="12"/>
                    </a:moveTo>
                    <a:cubicBezTo>
                      <a:pt x="0" y="6"/>
                      <a:pt x="6" y="0"/>
                      <a:pt x="12" y="0"/>
                    </a:cubicBezTo>
                    <a:lnTo>
                      <a:pt x="19056" y="0"/>
                    </a:lnTo>
                    <a:cubicBezTo>
                      <a:pt x="19063" y="0"/>
                      <a:pt x="19068" y="6"/>
                      <a:pt x="19068" y="12"/>
                    </a:cubicBezTo>
                    <a:lnTo>
                      <a:pt x="19068" y="2708"/>
                    </a:lnTo>
                    <a:cubicBezTo>
                      <a:pt x="19068" y="2715"/>
                      <a:pt x="19063" y="2720"/>
                      <a:pt x="19056" y="2720"/>
                    </a:cubicBezTo>
                    <a:lnTo>
                      <a:pt x="12" y="2720"/>
                    </a:lnTo>
                    <a:cubicBezTo>
                      <a:pt x="6" y="2720"/>
                      <a:pt x="0" y="2715"/>
                      <a:pt x="0" y="2708"/>
                    </a:cubicBezTo>
                    <a:lnTo>
                      <a:pt x="0" y="12"/>
                    </a:lnTo>
                    <a:close/>
                    <a:moveTo>
                      <a:pt x="24" y="2708"/>
                    </a:moveTo>
                    <a:lnTo>
                      <a:pt x="12" y="2696"/>
                    </a:lnTo>
                    <a:lnTo>
                      <a:pt x="19056" y="2696"/>
                    </a:lnTo>
                    <a:lnTo>
                      <a:pt x="19044" y="2708"/>
                    </a:lnTo>
                    <a:lnTo>
                      <a:pt x="19044" y="12"/>
                    </a:lnTo>
                    <a:lnTo>
                      <a:pt x="19056" y="24"/>
                    </a:lnTo>
                    <a:lnTo>
                      <a:pt x="12" y="24"/>
                    </a:lnTo>
                    <a:lnTo>
                      <a:pt x="24" y="12"/>
                    </a:lnTo>
                    <a:lnTo>
                      <a:pt x="24" y="2708"/>
                    </a:lnTo>
                    <a:close/>
                  </a:path>
                </a:pathLst>
              </a:custGeom>
              <a:solidFill>
                <a:srgbClr val="9BBB59"/>
              </a:solidFill>
              <a:ln w="0" cap="flat">
                <a:solidFill>
                  <a:srgbClr val="9BBB5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sp>
            <p:nvSpPr>
              <p:cNvPr id="1098" name="Rectangle 74"/>
              <p:cNvSpPr>
                <a:spLocks noChangeArrowheads="1"/>
              </p:cNvSpPr>
              <p:nvPr/>
            </p:nvSpPr>
            <p:spPr bwMode="auto">
              <a:xfrm>
                <a:off x="793" y="3203"/>
                <a:ext cx="2037" cy="15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ES" sz="1600" b="1" i="0" u="none" strike="noStrike" cap="none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itchFamily="34" charset="0"/>
                    <a:cs typeface="Arial" pitchFamily="34" charset="0"/>
                  </a:rPr>
                  <a:t>LICENCIA DE FUNCIONAMIENTO</a:t>
                </a:r>
                <a:endParaRPr kumimoji="0" lang="es-ES" sz="16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099" name="Rectangle 75"/>
              <p:cNvSpPr>
                <a:spLocks noChangeArrowheads="1"/>
              </p:cNvSpPr>
              <p:nvPr/>
            </p:nvSpPr>
            <p:spPr bwMode="auto">
              <a:xfrm>
                <a:off x="748" y="2905"/>
                <a:ext cx="4672" cy="15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ES" sz="1600" b="1" i="0" u="none" strike="noStrike" cap="none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itchFamily="34" charset="0"/>
                    <a:cs typeface="Arial" pitchFamily="34" charset="0"/>
                  </a:rPr>
                  <a:t>CERTIFICACIÓN DE CALIDAD</a:t>
                </a:r>
                <a:r>
                  <a:rPr kumimoji="0" lang="es-ES" sz="1600" b="1" i="0" u="none" strike="noStrike" cap="none" normalizeH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itchFamily="34" charset="0"/>
                    <a:cs typeface="Arial" pitchFamily="34" charset="0"/>
                  </a:rPr>
                  <a:t> DE LA FORMACIÒN PARA EL TRABAJO</a:t>
                </a:r>
                <a:r>
                  <a:rPr kumimoji="0" lang="es-ES" sz="1600" b="1" i="0" u="none" strike="noStrike" cap="none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itchFamily="34" charset="0"/>
                    <a:cs typeface="Arial" pitchFamily="34" charset="0"/>
                  </a:rPr>
                  <a:t> </a:t>
                </a:r>
                <a:endParaRPr kumimoji="0" lang="es-ES" sz="14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101" name="Rectangle 77"/>
              <p:cNvSpPr>
                <a:spLocks noChangeArrowheads="1"/>
              </p:cNvSpPr>
              <p:nvPr/>
            </p:nvSpPr>
            <p:spPr bwMode="auto">
              <a:xfrm>
                <a:off x="2901" y="3230"/>
                <a:ext cx="2383" cy="15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ES" sz="1600" b="1" i="0" u="none" strike="noStrike" cap="none" normalizeH="0" baseline="0" dirty="0" smtClean="0">
                    <a:ln>
                      <a:noFill/>
                    </a:ln>
                    <a:effectLst/>
                    <a:latin typeface="Arial" pitchFamily="34" charset="0"/>
                    <a:cs typeface="Arial" pitchFamily="34" charset="0"/>
                  </a:rPr>
                  <a:t>APROBACIÓN DE PROGRAMAS</a:t>
                </a:r>
                <a:endParaRPr kumimoji="0" lang="es-ES" sz="1400" b="0" i="0" u="none" strike="noStrike" cap="none" normalizeH="0" baseline="0" dirty="0" smtClean="0">
                  <a:ln>
                    <a:noFill/>
                  </a:ln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103" name="Freeform 79"/>
              <p:cNvSpPr>
                <a:spLocks/>
              </p:cNvSpPr>
              <p:nvPr/>
            </p:nvSpPr>
            <p:spPr bwMode="auto">
              <a:xfrm>
                <a:off x="3180" y="3498"/>
                <a:ext cx="1119" cy="539"/>
              </a:xfrm>
              <a:custGeom>
                <a:avLst/>
                <a:gdLst/>
                <a:ahLst/>
                <a:cxnLst>
                  <a:cxn ang="0">
                    <a:pos x="0" y="483"/>
                  </a:cxn>
                  <a:cxn ang="0">
                    <a:pos x="483" y="0"/>
                  </a:cxn>
                  <a:cxn ang="0">
                    <a:pos x="8174" y="0"/>
                  </a:cxn>
                  <a:cxn ang="0">
                    <a:pos x="8656" y="483"/>
                  </a:cxn>
                  <a:cxn ang="0">
                    <a:pos x="8656" y="2414"/>
                  </a:cxn>
                  <a:cxn ang="0">
                    <a:pos x="8174" y="2896"/>
                  </a:cxn>
                  <a:cxn ang="0">
                    <a:pos x="483" y="2896"/>
                  </a:cxn>
                  <a:cxn ang="0">
                    <a:pos x="0" y="2414"/>
                  </a:cxn>
                  <a:cxn ang="0">
                    <a:pos x="0" y="483"/>
                  </a:cxn>
                </a:cxnLst>
                <a:rect l="0" t="0" r="r" b="b"/>
                <a:pathLst>
                  <a:path w="8656" h="2896">
                    <a:moveTo>
                      <a:pt x="0" y="483"/>
                    </a:moveTo>
                    <a:cubicBezTo>
                      <a:pt x="0" y="217"/>
                      <a:pt x="217" y="0"/>
                      <a:pt x="483" y="0"/>
                    </a:cubicBezTo>
                    <a:lnTo>
                      <a:pt x="8174" y="0"/>
                    </a:lnTo>
                    <a:cubicBezTo>
                      <a:pt x="8440" y="0"/>
                      <a:pt x="8656" y="217"/>
                      <a:pt x="8656" y="483"/>
                    </a:cubicBezTo>
                    <a:lnTo>
                      <a:pt x="8656" y="2414"/>
                    </a:lnTo>
                    <a:cubicBezTo>
                      <a:pt x="8656" y="2680"/>
                      <a:pt x="8440" y="2896"/>
                      <a:pt x="8174" y="2896"/>
                    </a:cubicBezTo>
                    <a:lnTo>
                      <a:pt x="483" y="2896"/>
                    </a:lnTo>
                    <a:cubicBezTo>
                      <a:pt x="217" y="2896"/>
                      <a:pt x="0" y="2680"/>
                      <a:pt x="0" y="2414"/>
                    </a:cubicBezTo>
                    <a:lnTo>
                      <a:pt x="0" y="483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sp>
            <p:nvSpPr>
              <p:cNvPr id="1104" name="Freeform 80"/>
              <p:cNvSpPr>
                <a:spLocks noEditPoints="1"/>
              </p:cNvSpPr>
              <p:nvPr/>
            </p:nvSpPr>
            <p:spPr bwMode="auto">
              <a:xfrm>
                <a:off x="3174" y="3491"/>
                <a:ext cx="1130" cy="553"/>
              </a:xfrm>
              <a:custGeom>
                <a:avLst/>
                <a:gdLst/>
                <a:ahLst/>
                <a:cxnLst>
                  <a:cxn ang="0">
                    <a:pos x="2" y="78"/>
                  </a:cxn>
                  <a:cxn ang="0">
                    <a:pos x="9" y="51"/>
                  </a:cxn>
                  <a:cxn ang="0">
                    <a:pos x="20" y="29"/>
                  </a:cxn>
                  <a:cxn ang="0">
                    <a:pos x="36" y="12"/>
                  </a:cxn>
                  <a:cxn ang="0">
                    <a:pos x="54" y="2"/>
                  </a:cxn>
                  <a:cxn ang="0">
                    <a:pos x="1063" y="0"/>
                  </a:cxn>
                  <a:cxn ang="0">
                    <a:pos x="1083" y="4"/>
                  </a:cxn>
                  <a:cxn ang="0">
                    <a:pos x="1100" y="16"/>
                  </a:cxn>
                  <a:cxn ang="0">
                    <a:pos x="1115" y="35"/>
                  </a:cxn>
                  <a:cxn ang="0">
                    <a:pos x="1125" y="59"/>
                  </a:cxn>
                  <a:cxn ang="0">
                    <a:pos x="1130" y="87"/>
                  </a:cxn>
                  <a:cxn ang="0">
                    <a:pos x="1130" y="466"/>
                  </a:cxn>
                  <a:cxn ang="0">
                    <a:pos x="1125" y="494"/>
                  </a:cxn>
                  <a:cxn ang="0">
                    <a:pos x="1115" y="518"/>
                  </a:cxn>
                  <a:cxn ang="0">
                    <a:pos x="1101" y="537"/>
                  </a:cxn>
                  <a:cxn ang="0">
                    <a:pos x="1083" y="549"/>
                  </a:cxn>
                  <a:cxn ang="0">
                    <a:pos x="1063" y="553"/>
                  </a:cxn>
                  <a:cxn ang="0">
                    <a:pos x="55" y="552"/>
                  </a:cxn>
                  <a:cxn ang="0">
                    <a:pos x="36" y="542"/>
                  </a:cxn>
                  <a:cxn ang="0">
                    <a:pos x="21" y="525"/>
                  </a:cxn>
                  <a:cxn ang="0">
                    <a:pos x="9" y="503"/>
                  </a:cxn>
                  <a:cxn ang="0">
                    <a:pos x="2" y="476"/>
                  </a:cxn>
                  <a:cxn ang="0">
                    <a:pos x="0" y="97"/>
                  </a:cxn>
                  <a:cxn ang="0">
                    <a:pos x="12" y="473"/>
                  </a:cxn>
                  <a:cxn ang="0">
                    <a:pos x="18" y="495"/>
                  </a:cxn>
                  <a:cxn ang="0">
                    <a:pos x="28" y="514"/>
                  </a:cxn>
                  <a:cxn ang="0">
                    <a:pos x="41" y="529"/>
                  </a:cxn>
                  <a:cxn ang="0">
                    <a:pos x="56" y="537"/>
                  </a:cxn>
                  <a:cxn ang="0">
                    <a:pos x="1063" y="539"/>
                  </a:cxn>
                  <a:cxn ang="0">
                    <a:pos x="1080" y="535"/>
                  </a:cxn>
                  <a:cxn ang="0">
                    <a:pos x="1095" y="525"/>
                  </a:cxn>
                  <a:cxn ang="0">
                    <a:pos x="1107" y="509"/>
                  </a:cxn>
                  <a:cxn ang="0">
                    <a:pos x="1115" y="489"/>
                  </a:cxn>
                  <a:cxn ang="0">
                    <a:pos x="1120" y="465"/>
                  </a:cxn>
                  <a:cxn ang="0">
                    <a:pos x="1120" y="89"/>
                  </a:cxn>
                  <a:cxn ang="0">
                    <a:pos x="1116" y="66"/>
                  </a:cxn>
                  <a:cxn ang="0">
                    <a:pos x="1107" y="45"/>
                  </a:cxn>
                  <a:cxn ang="0">
                    <a:pos x="1095" y="29"/>
                  </a:cxn>
                  <a:cxn ang="0">
                    <a:pos x="1080" y="19"/>
                  </a:cxn>
                  <a:cxn ang="0">
                    <a:pos x="1063" y="15"/>
                  </a:cxn>
                  <a:cxn ang="0">
                    <a:pos x="57" y="16"/>
                  </a:cxn>
                  <a:cxn ang="0">
                    <a:pos x="41" y="25"/>
                  </a:cxn>
                  <a:cxn ang="0">
                    <a:pos x="28" y="39"/>
                  </a:cxn>
                  <a:cxn ang="0">
                    <a:pos x="18" y="58"/>
                  </a:cxn>
                  <a:cxn ang="0">
                    <a:pos x="12" y="80"/>
                  </a:cxn>
                  <a:cxn ang="0">
                    <a:pos x="11" y="456"/>
                  </a:cxn>
                </a:cxnLst>
                <a:rect l="0" t="0" r="r" b="b"/>
                <a:pathLst>
                  <a:path w="1130" h="553">
                    <a:moveTo>
                      <a:pt x="0" y="97"/>
                    </a:moveTo>
                    <a:lnTo>
                      <a:pt x="1" y="88"/>
                    </a:lnTo>
                    <a:lnTo>
                      <a:pt x="2" y="78"/>
                    </a:lnTo>
                    <a:lnTo>
                      <a:pt x="3" y="69"/>
                    </a:lnTo>
                    <a:lnTo>
                      <a:pt x="6" y="60"/>
                    </a:lnTo>
                    <a:lnTo>
                      <a:pt x="9" y="51"/>
                    </a:lnTo>
                    <a:lnTo>
                      <a:pt x="12" y="43"/>
                    </a:lnTo>
                    <a:lnTo>
                      <a:pt x="16" y="36"/>
                    </a:lnTo>
                    <a:lnTo>
                      <a:pt x="20" y="29"/>
                    </a:lnTo>
                    <a:lnTo>
                      <a:pt x="25" y="22"/>
                    </a:lnTo>
                    <a:lnTo>
                      <a:pt x="30" y="17"/>
                    </a:lnTo>
                    <a:lnTo>
                      <a:pt x="36" y="12"/>
                    </a:lnTo>
                    <a:lnTo>
                      <a:pt x="42" y="8"/>
                    </a:lnTo>
                    <a:lnTo>
                      <a:pt x="48" y="4"/>
                    </a:lnTo>
                    <a:lnTo>
                      <a:pt x="54" y="2"/>
                    </a:lnTo>
                    <a:lnTo>
                      <a:pt x="61" y="0"/>
                    </a:lnTo>
                    <a:lnTo>
                      <a:pt x="68" y="0"/>
                    </a:lnTo>
                    <a:lnTo>
                      <a:pt x="1063" y="0"/>
                    </a:lnTo>
                    <a:lnTo>
                      <a:pt x="1069" y="0"/>
                    </a:lnTo>
                    <a:lnTo>
                      <a:pt x="1076" y="2"/>
                    </a:lnTo>
                    <a:lnTo>
                      <a:pt x="1083" y="4"/>
                    </a:lnTo>
                    <a:lnTo>
                      <a:pt x="1089" y="8"/>
                    </a:lnTo>
                    <a:lnTo>
                      <a:pt x="1095" y="12"/>
                    </a:lnTo>
                    <a:lnTo>
                      <a:pt x="1100" y="16"/>
                    </a:lnTo>
                    <a:lnTo>
                      <a:pt x="1106" y="22"/>
                    </a:lnTo>
                    <a:lnTo>
                      <a:pt x="1110" y="28"/>
                    </a:lnTo>
                    <a:lnTo>
                      <a:pt x="1115" y="35"/>
                    </a:lnTo>
                    <a:lnTo>
                      <a:pt x="1119" y="43"/>
                    </a:lnTo>
                    <a:lnTo>
                      <a:pt x="1122" y="51"/>
                    </a:lnTo>
                    <a:lnTo>
                      <a:pt x="1125" y="59"/>
                    </a:lnTo>
                    <a:lnTo>
                      <a:pt x="1127" y="68"/>
                    </a:lnTo>
                    <a:lnTo>
                      <a:pt x="1129" y="77"/>
                    </a:lnTo>
                    <a:lnTo>
                      <a:pt x="1130" y="87"/>
                    </a:lnTo>
                    <a:lnTo>
                      <a:pt x="1130" y="97"/>
                    </a:lnTo>
                    <a:lnTo>
                      <a:pt x="1130" y="456"/>
                    </a:lnTo>
                    <a:lnTo>
                      <a:pt x="1130" y="466"/>
                    </a:lnTo>
                    <a:lnTo>
                      <a:pt x="1129" y="476"/>
                    </a:lnTo>
                    <a:lnTo>
                      <a:pt x="1127" y="485"/>
                    </a:lnTo>
                    <a:lnTo>
                      <a:pt x="1125" y="494"/>
                    </a:lnTo>
                    <a:lnTo>
                      <a:pt x="1122" y="502"/>
                    </a:lnTo>
                    <a:lnTo>
                      <a:pt x="1119" y="511"/>
                    </a:lnTo>
                    <a:lnTo>
                      <a:pt x="1115" y="518"/>
                    </a:lnTo>
                    <a:lnTo>
                      <a:pt x="1111" y="525"/>
                    </a:lnTo>
                    <a:lnTo>
                      <a:pt x="1106" y="531"/>
                    </a:lnTo>
                    <a:lnTo>
                      <a:pt x="1101" y="537"/>
                    </a:lnTo>
                    <a:lnTo>
                      <a:pt x="1095" y="542"/>
                    </a:lnTo>
                    <a:lnTo>
                      <a:pt x="1089" y="546"/>
                    </a:lnTo>
                    <a:lnTo>
                      <a:pt x="1083" y="549"/>
                    </a:lnTo>
                    <a:lnTo>
                      <a:pt x="1077" y="551"/>
                    </a:lnTo>
                    <a:lnTo>
                      <a:pt x="1070" y="553"/>
                    </a:lnTo>
                    <a:lnTo>
                      <a:pt x="1063" y="553"/>
                    </a:lnTo>
                    <a:lnTo>
                      <a:pt x="68" y="553"/>
                    </a:lnTo>
                    <a:lnTo>
                      <a:pt x="62" y="553"/>
                    </a:lnTo>
                    <a:lnTo>
                      <a:pt x="55" y="552"/>
                    </a:lnTo>
                    <a:lnTo>
                      <a:pt x="48" y="549"/>
                    </a:lnTo>
                    <a:lnTo>
                      <a:pt x="42" y="546"/>
                    </a:lnTo>
                    <a:lnTo>
                      <a:pt x="36" y="542"/>
                    </a:lnTo>
                    <a:lnTo>
                      <a:pt x="31" y="537"/>
                    </a:lnTo>
                    <a:lnTo>
                      <a:pt x="25" y="532"/>
                    </a:lnTo>
                    <a:lnTo>
                      <a:pt x="21" y="525"/>
                    </a:lnTo>
                    <a:lnTo>
                      <a:pt x="16" y="519"/>
                    </a:lnTo>
                    <a:lnTo>
                      <a:pt x="12" y="511"/>
                    </a:lnTo>
                    <a:lnTo>
                      <a:pt x="9" y="503"/>
                    </a:lnTo>
                    <a:lnTo>
                      <a:pt x="6" y="495"/>
                    </a:lnTo>
                    <a:lnTo>
                      <a:pt x="4" y="486"/>
                    </a:lnTo>
                    <a:lnTo>
                      <a:pt x="2" y="476"/>
                    </a:lnTo>
                    <a:lnTo>
                      <a:pt x="1" y="467"/>
                    </a:lnTo>
                    <a:lnTo>
                      <a:pt x="1" y="457"/>
                    </a:lnTo>
                    <a:lnTo>
                      <a:pt x="0" y="97"/>
                    </a:lnTo>
                    <a:close/>
                    <a:moveTo>
                      <a:pt x="11" y="456"/>
                    </a:moveTo>
                    <a:lnTo>
                      <a:pt x="11" y="464"/>
                    </a:lnTo>
                    <a:lnTo>
                      <a:pt x="12" y="473"/>
                    </a:lnTo>
                    <a:lnTo>
                      <a:pt x="13" y="481"/>
                    </a:lnTo>
                    <a:lnTo>
                      <a:pt x="15" y="488"/>
                    </a:lnTo>
                    <a:lnTo>
                      <a:pt x="18" y="495"/>
                    </a:lnTo>
                    <a:lnTo>
                      <a:pt x="21" y="502"/>
                    </a:lnTo>
                    <a:lnTo>
                      <a:pt x="24" y="508"/>
                    </a:lnTo>
                    <a:lnTo>
                      <a:pt x="28" y="514"/>
                    </a:lnTo>
                    <a:lnTo>
                      <a:pt x="32" y="520"/>
                    </a:lnTo>
                    <a:lnTo>
                      <a:pt x="36" y="524"/>
                    </a:lnTo>
                    <a:lnTo>
                      <a:pt x="41" y="529"/>
                    </a:lnTo>
                    <a:lnTo>
                      <a:pt x="46" y="532"/>
                    </a:lnTo>
                    <a:lnTo>
                      <a:pt x="51" y="535"/>
                    </a:lnTo>
                    <a:lnTo>
                      <a:pt x="56" y="537"/>
                    </a:lnTo>
                    <a:lnTo>
                      <a:pt x="62" y="538"/>
                    </a:lnTo>
                    <a:lnTo>
                      <a:pt x="68" y="539"/>
                    </a:lnTo>
                    <a:lnTo>
                      <a:pt x="1063" y="539"/>
                    </a:lnTo>
                    <a:lnTo>
                      <a:pt x="1068" y="538"/>
                    </a:lnTo>
                    <a:lnTo>
                      <a:pt x="1074" y="537"/>
                    </a:lnTo>
                    <a:lnTo>
                      <a:pt x="1080" y="535"/>
                    </a:lnTo>
                    <a:lnTo>
                      <a:pt x="1085" y="532"/>
                    </a:lnTo>
                    <a:lnTo>
                      <a:pt x="1090" y="529"/>
                    </a:lnTo>
                    <a:lnTo>
                      <a:pt x="1095" y="525"/>
                    </a:lnTo>
                    <a:lnTo>
                      <a:pt x="1099" y="520"/>
                    </a:lnTo>
                    <a:lnTo>
                      <a:pt x="1103" y="515"/>
                    </a:lnTo>
                    <a:lnTo>
                      <a:pt x="1107" y="509"/>
                    </a:lnTo>
                    <a:lnTo>
                      <a:pt x="1110" y="503"/>
                    </a:lnTo>
                    <a:lnTo>
                      <a:pt x="1113" y="496"/>
                    </a:lnTo>
                    <a:lnTo>
                      <a:pt x="1115" y="489"/>
                    </a:lnTo>
                    <a:lnTo>
                      <a:pt x="1117" y="481"/>
                    </a:lnTo>
                    <a:lnTo>
                      <a:pt x="1119" y="473"/>
                    </a:lnTo>
                    <a:lnTo>
                      <a:pt x="1120" y="465"/>
                    </a:lnTo>
                    <a:lnTo>
                      <a:pt x="1120" y="456"/>
                    </a:lnTo>
                    <a:lnTo>
                      <a:pt x="1120" y="98"/>
                    </a:lnTo>
                    <a:lnTo>
                      <a:pt x="1120" y="89"/>
                    </a:lnTo>
                    <a:lnTo>
                      <a:pt x="1119" y="81"/>
                    </a:lnTo>
                    <a:lnTo>
                      <a:pt x="1118" y="73"/>
                    </a:lnTo>
                    <a:lnTo>
                      <a:pt x="1116" y="66"/>
                    </a:lnTo>
                    <a:lnTo>
                      <a:pt x="1113" y="58"/>
                    </a:lnTo>
                    <a:lnTo>
                      <a:pt x="1110" y="51"/>
                    </a:lnTo>
                    <a:lnTo>
                      <a:pt x="1107" y="45"/>
                    </a:lnTo>
                    <a:lnTo>
                      <a:pt x="1103" y="39"/>
                    </a:lnTo>
                    <a:lnTo>
                      <a:pt x="1099" y="34"/>
                    </a:lnTo>
                    <a:lnTo>
                      <a:pt x="1095" y="29"/>
                    </a:lnTo>
                    <a:lnTo>
                      <a:pt x="1090" y="25"/>
                    </a:lnTo>
                    <a:lnTo>
                      <a:pt x="1085" y="21"/>
                    </a:lnTo>
                    <a:lnTo>
                      <a:pt x="1080" y="19"/>
                    </a:lnTo>
                    <a:lnTo>
                      <a:pt x="1075" y="17"/>
                    </a:lnTo>
                    <a:lnTo>
                      <a:pt x="1069" y="15"/>
                    </a:lnTo>
                    <a:lnTo>
                      <a:pt x="1063" y="15"/>
                    </a:lnTo>
                    <a:lnTo>
                      <a:pt x="68" y="15"/>
                    </a:lnTo>
                    <a:lnTo>
                      <a:pt x="63" y="15"/>
                    </a:lnTo>
                    <a:lnTo>
                      <a:pt x="57" y="16"/>
                    </a:lnTo>
                    <a:lnTo>
                      <a:pt x="51" y="18"/>
                    </a:lnTo>
                    <a:lnTo>
                      <a:pt x="46" y="21"/>
                    </a:lnTo>
                    <a:lnTo>
                      <a:pt x="41" y="25"/>
                    </a:lnTo>
                    <a:lnTo>
                      <a:pt x="36" y="29"/>
                    </a:lnTo>
                    <a:lnTo>
                      <a:pt x="32" y="34"/>
                    </a:lnTo>
                    <a:lnTo>
                      <a:pt x="28" y="39"/>
                    </a:lnTo>
                    <a:lnTo>
                      <a:pt x="24" y="45"/>
                    </a:lnTo>
                    <a:lnTo>
                      <a:pt x="21" y="51"/>
                    </a:lnTo>
                    <a:lnTo>
                      <a:pt x="18" y="58"/>
                    </a:lnTo>
                    <a:lnTo>
                      <a:pt x="15" y="65"/>
                    </a:lnTo>
                    <a:lnTo>
                      <a:pt x="14" y="72"/>
                    </a:lnTo>
                    <a:lnTo>
                      <a:pt x="12" y="80"/>
                    </a:lnTo>
                    <a:lnTo>
                      <a:pt x="11" y="88"/>
                    </a:lnTo>
                    <a:lnTo>
                      <a:pt x="11" y="97"/>
                    </a:lnTo>
                    <a:lnTo>
                      <a:pt x="11" y="456"/>
                    </a:lnTo>
                    <a:close/>
                  </a:path>
                </a:pathLst>
              </a:custGeom>
              <a:solidFill>
                <a:srgbClr val="000000"/>
              </a:solidFill>
              <a:ln w="0" cap="flat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sp>
            <p:nvSpPr>
              <p:cNvPr id="1106" name="Rectangle 82"/>
              <p:cNvSpPr>
                <a:spLocks noChangeArrowheads="1"/>
              </p:cNvSpPr>
              <p:nvPr/>
            </p:nvSpPr>
            <p:spPr bwMode="auto">
              <a:xfrm>
                <a:off x="3288" y="3611"/>
                <a:ext cx="725" cy="29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ES" sz="2500" b="1" i="0" u="none" strike="noStrike" cap="none" normalizeH="0" baseline="0" dirty="0" smtClean="0">
                    <a:ln>
                      <a:noFill/>
                    </a:ln>
                    <a:solidFill>
                      <a:srgbClr val="C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Obligatorio</a:t>
                </a:r>
                <a:endParaRPr kumimoji="0" lang="es-ES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pic>
            <p:nvPicPr>
              <p:cNvPr id="1107" name="Picture 83"/>
              <p:cNvPicPr>
                <a:picLocks noChangeAspect="1" noChangeArrowheads="1"/>
              </p:cNvPicPr>
              <p:nvPr/>
            </p:nvPicPr>
            <p:blipFill>
              <a:blip r:embed="rId2" cstate="print"/>
              <a:srcRect/>
              <a:stretch>
                <a:fillRect/>
              </a:stretch>
            </p:blipFill>
            <p:spPr bwMode="auto">
              <a:xfrm>
                <a:off x="3138" y="2044"/>
                <a:ext cx="1121" cy="80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108" name="Freeform 84"/>
              <p:cNvSpPr>
                <a:spLocks noEditPoints="1"/>
              </p:cNvSpPr>
              <p:nvPr/>
            </p:nvSpPr>
            <p:spPr bwMode="auto">
              <a:xfrm>
                <a:off x="3135" y="2040"/>
                <a:ext cx="1127" cy="817"/>
              </a:xfrm>
              <a:custGeom>
                <a:avLst/>
                <a:gdLst/>
                <a:ahLst/>
                <a:cxnLst>
                  <a:cxn ang="0">
                    <a:pos x="2" y="111"/>
                  </a:cxn>
                  <a:cxn ang="0">
                    <a:pos x="12" y="73"/>
                  </a:cxn>
                  <a:cxn ang="0">
                    <a:pos x="29" y="41"/>
                  </a:cxn>
                  <a:cxn ang="0">
                    <a:pos x="51" y="17"/>
                  </a:cxn>
                  <a:cxn ang="0">
                    <a:pos x="77" y="3"/>
                  </a:cxn>
                  <a:cxn ang="0">
                    <a:pos x="1030" y="0"/>
                  </a:cxn>
                  <a:cxn ang="0">
                    <a:pos x="1059" y="6"/>
                  </a:cxn>
                  <a:cxn ang="0">
                    <a:pos x="1084" y="24"/>
                  </a:cxn>
                  <a:cxn ang="0">
                    <a:pos x="1105" y="51"/>
                  </a:cxn>
                  <a:cxn ang="0">
                    <a:pos x="1119" y="85"/>
                  </a:cxn>
                  <a:cxn ang="0">
                    <a:pos x="1127" y="125"/>
                  </a:cxn>
                  <a:cxn ang="0">
                    <a:pos x="1127" y="692"/>
                  </a:cxn>
                  <a:cxn ang="0">
                    <a:pos x="1119" y="732"/>
                  </a:cxn>
                  <a:cxn ang="0">
                    <a:pos x="1105" y="766"/>
                  </a:cxn>
                  <a:cxn ang="0">
                    <a:pos x="1084" y="793"/>
                  </a:cxn>
                  <a:cxn ang="0">
                    <a:pos x="1059" y="811"/>
                  </a:cxn>
                  <a:cxn ang="0">
                    <a:pos x="1030" y="817"/>
                  </a:cxn>
                  <a:cxn ang="0">
                    <a:pos x="78" y="814"/>
                  </a:cxn>
                  <a:cxn ang="0">
                    <a:pos x="51" y="800"/>
                  </a:cxn>
                  <a:cxn ang="0">
                    <a:pos x="29" y="776"/>
                  </a:cxn>
                  <a:cxn ang="0">
                    <a:pos x="12" y="744"/>
                  </a:cxn>
                  <a:cxn ang="0">
                    <a:pos x="2" y="706"/>
                  </a:cxn>
                  <a:cxn ang="0">
                    <a:pos x="0" y="139"/>
                  </a:cxn>
                  <a:cxn ang="0">
                    <a:pos x="8" y="704"/>
                  </a:cxn>
                  <a:cxn ang="0">
                    <a:pos x="17" y="740"/>
                  </a:cxn>
                  <a:cxn ang="0">
                    <a:pos x="33" y="770"/>
                  </a:cxn>
                  <a:cxn ang="0">
                    <a:pos x="54" y="792"/>
                  </a:cxn>
                  <a:cxn ang="0">
                    <a:pos x="79" y="805"/>
                  </a:cxn>
                  <a:cxn ang="0">
                    <a:pos x="1030" y="808"/>
                  </a:cxn>
                  <a:cxn ang="0">
                    <a:pos x="1057" y="802"/>
                  </a:cxn>
                  <a:cxn ang="0">
                    <a:pos x="1081" y="786"/>
                  </a:cxn>
                  <a:cxn ang="0">
                    <a:pos x="1100" y="761"/>
                  </a:cxn>
                  <a:cxn ang="0">
                    <a:pos x="1114" y="729"/>
                  </a:cxn>
                  <a:cxn ang="0">
                    <a:pos x="1120" y="691"/>
                  </a:cxn>
                  <a:cxn ang="0">
                    <a:pos x="1120" y="126"/>
                  </a:cxn>
                  <a:cxn ang="0">
                    <a:pos x="1114" y="89"/>
                  </a:cxn>
                  <a:cxn ang="0">
                    <a:pos x="1100" y="56"/>
                  </a:cxn>
                  <a:cxn ang="0">
                    <a:pos x="1081" y="31"/>
                  </a:cxn>
                  <a:cxn ang="0">
                    <a:pos x="1057" y="15"/>
                  </a:cxn>
                  <a:cxn ang="0">
                    <a:pos x="1030" y="9"/>
                  </a:cxn>
                  <a:cxn ang="0">
                    <a:pos x="79" y="11"/>
                  </a:cxn>
                  <a:cxn ang="0">
                    <a:pos x="54" y="24"/>
                  </a:cxn>
                  <a:cxn ang="0">
                    <a:pos x="33" y="47"/>
                  </a:cxn>
                  <a:cxn ang="0">
                    <a:pos x="18" y="77"/>
                  </a:cxn>
                  <a:cxn ang="0">
                    <a:pos x="8" y="113"/>
                  </a:cxn>
                  <a:cxn ang="0">
                    <a:pos x="6" y="678"/>
                  </a:cxn>
                </a:cxnLst>
                <a:rect l="0" t="0" r="r" b="b"/>
                <a:pathLst>
                  <a:path w="1127" h="817">
                    <a:moveTo>
                      <a:pt x="0" y="139"/>
                    </a:moveTo>
                    <a:lnTo>
                      <a:pt x="1" y="125"/>
                    </a:lnTo>
                    <a:lnTo>
                      <a:pt x="2" y="111"/>
                    </a:lnTo>
                    <a:lnTo>
                      <a:pt x="5" y="98"/>
                    </a:lnTo>
                    <a:lnTo>
                      <a:pt x="8" y="85"/>
                    </a:lnTo>
                    <a:lnTo>
                      <a:pt x="12" y="73"/>
                    </a:lnTo>
                    <a:lnTo>
                      <a:pt x="17" y="62"/>
                    </a:lnTo>
                    <a:lnTo>
                      <a:pt x="22" y="51"/>
                    </a:lnTo>
                    <a:lnTo>
                      <a:pt x="29" y="41"/>
                    </a:lnTo>
                    <a:lnTo>
                      <a:pt x="35" y="32"/>
                    </a:lnTo>
                    <a:lnTo>
                      <a:pt x="43" y="24"/>
                    </a:lnTo>
                    <a:lnTo>
                      <a:pt x="51" y="17"/>
                    </a:lnTo>
                    <a:lnTo>
                      <a:pt x="59" y="11"/>
                    </a:lnTo>
                    <a:lnTo>
                      <a:pt x="68" y="6"/>
                    </a:lnTo>
                    <a:lnTo>
                      <a:pt x="77" y="3"/>
                    </a:lnTo>
                    <a:lnTo>
                      <a:pt x="87" y="1"/>
                    </a:lnTo>
                    <a:lnTo>
                      <a:pt x="97" y="0"/>
                    </a:lnTo>
                    <a:lnTo>
                      <a:pt x="1030" y="0"/>
                    </a:lnTo>
                    <a:lnTo>
                      <a:pt x="1040" y="1"/>
                    </a:lnTo>
                    <a:lnTo>
                      <a:pt x="1050" y="3"/>
                    </a:lnTo>
                    <a:lnTo>
                      <a:pt x="1059" y="6"/>
                    </a:lnTo>
                    <a:lnTo>
                      <a:pt x="1068" y="11"/>
                    </a:lnTo>
                    <a:lnTo>
                      <a:pt x="1076" y="17"/>
                    </a:lnTo>
                    <a:lnTo>
                      <a:pt x="1084" y="24"/>
                    </a:lnTo>
                    <a:lnTo>
                      <a:pt x="1092" y="32"/>
                    </a:lnTo>
                    <a:lnTo>
                      <a:pt x="1099" y="41"/>
                    </a:lnTo>
                    <a:lnTo>
                      <a:pt x="1105" y="51"/>
                    </a:lnTo>
                    <a:lnTo>
                      <a:pt x="1110" y="61"/>
                    </a:lnTo>
                    <a:lnTo>
                      <a:pt x="1115" y="73"/>
                    </a:lnTo>
                    <a:lnTo>
                      <a:pt x="1119" y="85"/>
                    </a:lnTo>
                    <a:lnTo>
                      <a:pt x="1123" y="98"/>
                    </a:lnTo>
                    <a:lnTo>
                      <a:pt x="1125" y="111"/>
                    </a:lnTo>
                    <a:lnTo>
                      <a:pt x="1127" y="125"/>
                    </a:lnTo>
                    <a:lnTo>
                      <a:pt x="1127" y="139"/>
                    </a:lnTo>
                    <a:lnTo>
                      <a:pt x="1127" y="678"/>
                    </a:lnTo>
                    <a:lnTo>
                      <a:pt x="1127" y="692"/>
                    </a:lnTo>
                    <a:lnTo>
                      <a:pt x="1125" y="706"/>
                    </a:lnTo>
                    <a:lnTo>
                      <a:pt x="1123" y="719"/>
                    </a:lnTo>
                    <a:lnTo>
                      <a:pt x="1119" y="732"/>
                    </a:lnTo>
                    <a:lnTo>
                      <a:pt x="1115" y="744"/>
                    </a:lnTo>
                    <a:lnTo>
                      <a:pt x="1111" y="756"/>
                    </a:lnTo>
                    <a:lnTo>
                      <a:pt x="1105" y="766"/>
                    </a:lnTo>
                    <a:lnTo>
                      <a:pt x="1099" y="776"/>
                    </a:lnTo>
                    <a:lnTo>
                      <a:pt x="1092" y="785"/>
                    </a:lnTo>
                    <a:lnTo>
                      <a:pt x="1084" y="793"/>
                    </a:lnTo>
                    <a:lnTo>
                      <a:pt x="1076" y="800"/>
                    </a:lnTo>
                    <a:lnTo>
                      <a:pt x="1068" y="806"/>
                    </a:lnTo>
                    <a:lnTo>
                      <a:pt x="1059" y="811"/>
                    </a:lnTo>
                    <a:lnTo>
                      <a:pt x="1050" y="814"/>
                    </a:lnTo>
                    <a:lnTo>
                      <a:pt x="1040" y="816"/>
                    </a:lnTo>
                    <a:lnTo>
                      <a:pt x="1030" y="817"/>
                    </a:lnTo>
                    <a:lnTo>
                      <a:pt x="97" y="817"/>
                    </a:lnTo>
                    <a:lnTo>
                      <a:pt x="87" y="816"/>
                    </a:lnTo>
                    <a:lnTo>
                      <a:pt x="78" y="814"/>
                    </a:lnTo>
                    <a:lnTo>
                      <a:pt x="68" y="811"/>
                    </a:lnTo>
                    <a:lnTo>
                      <a:pt x="60" y="806"/>
                    </a:lnTo>
                    <a:lnTo>
                      <a:pt x="51" y="800"/>
                    </a:lnTo>
                    <a:lnTo>
                      <a:pt x="43" y="793"/>
                    </a:lnTo>
                    <a:lnTo>
                      <a:pt x="36" y="785"/>
                    </a:lnTo>
                    <a:lnTo>
                      <a:pt x="29" y="776"/>
                    </a:lnTo>
                    <a:lnTo>
                      <a:pt x="22" y="767"/>
                    </a:lnTo>
                    <a:lnTo>
                      <a:pt x="17" y="756"/>
                    </a:lnTo>
                    <a:lnTo>
                      <a:pt x="12" y="744"/>
                    </a:lnTo>
                    <a:lnTo>
                      <a:pt x="8" y="732"/>
                    </a:lnTo>
                    <a:lnTo>
                      <a:pt x="5" y="719"/>
                    </a:lnTo>
                    <a:lnTo>
                      <a:pt x="2" y="706"/>
                    </a:lnTo>
                    <a:lnTo>
                      <a:pt x="1" y="692"/>
                    </a:lnTo>
                    <a:lnTo>
                      <a:pt x="0" y="678"/>
                    </a:lnTo>
                    <a:lnTo>
                      <a:pt x="0" y="139"/>
                    </a:lnTo>
                    <a:close/>
                    <a:moveTo>
                      <a:pt x="6" y="678"/>
                    </a:moveTo>
                    <a:lnTo>
                      <a:pt x="7" y="691"/>
                    </a:lnTo>
                    <a:lnTo>
                      <a:pt x="8" y="704"/>
                    </a:lnTo>
                    <a:lnTo>
                      <a:pt x="10" y="716"/>
                    </a:lnTo>
                    <a:lnTo>
                      <a:pt x="14" y="728"/>
                    </a:lnTo>
                    <a:lnTo>
                      <a:pt x="17" y="740"/>
                    </a:lnTo>
                    <a:lnTo>
                      <a:pt x="22" y="751"/>
                    </a:lnTo>
                    <a:lnTo>
                      <a:pt x="27" y="761"/>
                    </a:lnTo>
                    <a:lnTo>
                      <a:pt x="33" y="770"/>
                    </a:lnTo>
                    <a:lnTo>
                      <a:pt x="39" y="778"/>
                    </a:lnTo>
                    <a:lnTo>
                      <a:pt x="46" y="786"/>
                    </a:lnTo>
                    <a:lnTo>
                      <a:pt x="54" y="792"/>
                    </a:lnTo>
                    <a:lnTo>
                      <a:pt x="62" y="798"/>
                    </a:lnTo>
                    <a:lnTo>
                      <a:pt x="70" y="802"/>
                    </a:lnTo>
                    <a:lnTo>
                      <a:pt x="79" y="805"/>
                    </a:lnTo>
                    <a:lnTo>
                      <a:pt x="88" y="807"/>
                    </a:lnTo>
                    <a:lnTo>
                      <a:pt x="97" y="808"/>
                    </a:lnTo>
                    <a:lnTo>
                      <a:pt x="1030" y="808"/>
                    </a:lnTo>
                    <a:lnTo>
                      <a:pt x="1039" y="807"/>
                    </a:lnTo>
                    <a:lnTo>
                      <a:pt x="1048" y="806"/>
                    </a:lnTo>
                    <a:lnTo>
                      <a:pt x="1057" y="802"/>
                    </a:lnTo>
                    <a:lnTo>
                      <a:pt x="1065" y="798"/>
                    </a:lnTo>
                    <a:lnTo>
                      <a:pt x="1073" y="792"/>
                    </a:lnTo>
                    <a:lnTo>
                      <a:pt x="1081" y="786"/>
                    </a:lnTo>
                    <a:lnTo>
                      <a:pt x="1088" y="778"/>
                    </a:lnTo>
                    <a:lnTo>
                      <a:pt x="1094" y="770"/>
                    </a:lnTo>
                    <a:lnTo>
                      <a:pt x="1100" y="761"/>
                    </a:lnTo>
                    <a:lnTo>
                      <a:pt x="1105" y="751"/>
                    </a:lnTo>
                    <a:lnTo>
                      <a:pt x="1110" y="740"/>
                    </a:lnTo>
                    <a:lnTo>
                      <a:pt x="1114" y="729"/>
                    </a:lnTo>
                    <a:lnTo>
                      <a:pt x="1117" y="717"/>
                    </a:lnTo>
                    <a:lnTo>
                      <a:pt x="1119" y="704"/>
                    </a:lnTo>
                    <a:lnTo>
                      <a:pt x="1120" y="691"/>
                    </a:lnTo>
                    <a:lnTo>
                      <a:pt x="1121" y="678"/>
                    </a:lnTo>
                    <a:lnTo>
                      <a:pt x="1121" y="139"/>
                    </a:lnTo>
                    <a:lnTo>
                      <a:pt x="1120" y="126"/>
                    </a:lnTo>
                    <a:lnTo>
                      <a:pt x="1119" y="113"/>
                    </a:lnTo>
                    <a:lnTo>
                      <a:pt x="1117" y="101"/>
                    </a:lnTo>
                    <a:lnTo>
                      <a:pt x="1114" y="89"/>
                    </a:lnTo>
                    <a:lnTo>
                      <a:pt x="1110" y="77"/>
                    </a:lnTo>
                    <a:lnTo>
                      <a:pt x="1105" y="67"/>
                    </a:lnTo>
                    <a:lnTo>
                      <a:pt x="1100" y="56"/>
                    </a:lnTo>
                    <a:lnTo>
                      <a:pt x="1094" y="47"/>
                    </a:lnTo>
                    <a:lnTo>
                      <a:pt x="1088" y="39"/>
                    </a:lnTo>
                    <a:lnTo>
                      <a:pt x="1081" y="31"/>
                    </a:lnTo>
                    <a:lnTo>
                      <a:pt x="1073" y="25"/>
                    </a:lnTo>
                    <a:lnTo>
                      <a:pt x="1066" y="19"/>
                    </a:lnTo>
                    <a:lnTo>
                      <a:pt x="1057" y="15"/>
                    </a:lnTo>
                    <a:lnTo>
                      <a:pt x="1049" y="12"/>
                    </a:lnTo>
                    <a:lnTo>
                      <a:pt x="1040" y="10"/>
                    </a:lnTo>
                    <a:lnTo>
                      <a:pt x="1030" y="9"/>
                    </a:lnTo>
                    <a:lnTo>
                      <a:pt x="97" y="9"/>
                    </a:lnTo>
                    <a:lnTo>
                      <a:pt x="88" y="10"/>
                    </a:lnTo>
                    <a:lnTo>
                      <a:pt x="79" y="11"/>
                    </a:lnTo>
                    <a:lnTo>
                      <a:pt x="70" y="15"/>
                    </a:lnTo>
                    <a:lnTo>
                      <a:pt x="62" y="19"/>
                    </a:lnTo>
                    <a:lnTo>
                      <a:pt x="54" y="24"/>
                    </a:lnTo>
                    <a:lnTo>
                      <a:pt x="46" y="31"/>
                    </a:lnTo>
                    <a:lnTo>
                      <a:pt x="39" y="39"/>
                    </a:lnTo>
                    <a:lnTo>
                      <a:pt x="33" y="47"/>
                    </a:lnTo>
                    <a:lnTo>
                      <a:pt x="27" y="56"/>
                    </a:lnTo>
                    <a:lnTo>
                      <a:pt x="22" y="66"/>
                    </a:lnTo>
                    <a:lnTo>
                      <a:pt x="18" y="77"/>
                    </a:lnTo>
                    <a:lnTo>
                      <a:pt x="14" y="88"/>
                    </a:lnTo>
                    <a:lnTo>
                      <a:pt x="11" y="100"/>
                    </a:lnTo>
                    <a:lnTo>
                      <a:pt x="8" y="113"/>
                    </a:lnTo>
                    <a:lnTo>
                      <a:pt x="7" y="126"/>
                    </a:lnTo>
                    <a:lnTo>
                      <a:pt x="6" y="139"/>
                    </a:lnTo>
                    <a:lnTo>
                      <a:pt x="6" y="678"/>
                    </a:lnTo>
                    <a:close/>
                  </a:path>
                </a:pathLst>
              </a:custGeom>
              <a:solidFill>
                <a:srgbClr val="9BBB59"/>
              </a:solidFill>
              <a:ln w="0" cap="flat">
                <a:solidFill>
                  <a:srgbClr val="9BBB5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sp>
            <p:nvSpPr>
              <p:cNvPr id="1110" name="Rectangle 86"/>
              <p:cNvSpPr>
                <a:spLocks noChangeArrowheads="1"/>
              </p:cNvSpPr>
              <p:nvPr/>
            </p:nvSpPr>
            <p:spPr bwMode="auto">
              <a:xfrm>
                <a:off x="3327" y="2328"/>
                <a:ext cx="687" cy="29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ES" sz="2500" b="1" i="0" u="none" strike="noStrike" cap="none" normalizeH="0" baseline="0" dirty="0" smtClean="0">
                    <a:ln>
                      <a:noFill/>
                    </a:ln>
                    <a:solidFill>
                      <a:srgbClr val="C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Voluntario</a:t>
                </a:r>
                <a:endParaRPr kumimoji="0" lang="es-ES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112" name="Freeform 88"/>
              <p:cNvSpPr>
                <a:spLocks noEditPoints="1"/>
              </p:cNvSpPr>
              <p:nvPr/>
            </p:nvSpPr>
            <p:spPr bwMode="auto">
              <a:xfrm>
                <a:off x="1519" y="3491"/>
                <a:ext cx="1089" cy="553"/>
              </a:xfrm>
              <a:custGeom>
                <a:avLst/>
                <a:gdLst/>
                <a:ahLst/>
                <a:cxnLst>
                  <a:cxn ang="0">
                    <a:pos x="2" y="78"/>
                  </a:cxn>
                  <a:cxn ang="0">
                    <a:pos x="8" y="51"/>
                  </a:cxn>
                  <a:cxn ang="0">
                    <a:pos x="20" y="29"/>
                  </a:cxn>
                  <a:cxn ang="0">
                    <a:pos x="35" y="12"/>
                  </a:cxn>
                  <a:cxn ang="0">
                    <a:pos x="54" y="2"/>
                  </a:cxn>
                  <a:cxn ang="0">
                    <a:pos x="1132" y="0"/>
                  </a:cxn>
                  <a:cxn ang="0">
                    <a:pos x="1152" y="4"/>
                  </a:cxn>
                  <a:cxn ang="0">
                    <a:pos x="1169" y="16"/>
                  </a:cxn>
                  <a:cxn ang="0">
                    <a:pos x="1184" y="35"/>
                  </a:cxn>
                  <a:cxn ang="0">
                    <a:pos x="1194" y="59"/>
                  </a:cxn>
                  <a:cxn ang="0">
                    <a:pos x="1199" y="87"/>
                  </a:cxn>
                  <a:cxn ang="0">
                    <a:pos x="1199" y="466"/>
                  </a:cxn>
                  <a:cxn ang="0">
                    <a:pos x="1194" y="494"/>
                  </a:cxn>
                  <a:cxn ang="0">
                    <a:pos x="1184" y="518"/>
                  </a:cxn>
                  <a:cxn ang="0">
                    <a:pos x="1170" y="537"/>
                  </a:cxn>
                  <a:cxn ang="0">
                    <a:pos x="1152" y="549"/>
                  </a:cxn>
                  <a:cxn ang="0">
                    <a:pos x="1132" y="553"/>
                  </a:cxn>
                  <a:cxn ang="0">
                    <a:pos x="54" y="552"/>
                  </a:cxn>
                  <a:cxn ang="0">
                    <a:pos x="36" y="542"/>
                  </a:cxn>
                  <a:cxn ang="0">
                    <a:pos x="20" y="525"/>
                  </a:cxn>
                  <a:cxn ang="0">
                    <a:pos x="9" y="503"/>
                  </a:cxn>
                  <a:cxn ang="0">
                    <a:pos x="2" y="476"/>
                  </a:cxn>
                  <a:cxn ang="0">
                    <a:pos x="0" y="97"/>
                  </a:cxn>
                  <a:cxn ang="0">
                    <a:pos x="12" y="473"/>
                  </a:cxn>
                  <a:cxn ang="0">
                    <a:pos x="17" y="495"/>
                  </a:cxn>
                  <a:cxn ang="0">
                    <a:pos x="27" y="514"/>
                  </a:cxn>
                  <a:cxn ang="0">
                    <a:pos x="40" y="529"/>
                  </a:cxn>
                  <a:cxn ang="0">
                    <a:pos x="56" y="537"/>
                  </a:cxn>
                  <a:cxn ang="0">
                    <a:pos x="1131" y="539"/>
                  </a:cxn>
                  <a:cxn ang="0">
                    <a:pos x="1149" y="535"/>
                  </a:cxn>
                  <a:cxn ang="0">
                    <a:pos x="1164" y="525"/>
                  </a:cxn>
                  <a:cxn ang="0">
                    <a:pos x="1176" y="509"/>
                  </a:cxn>
                  <a:cxn ang="0">
                    <a:pos x="1184" y="489"/>
                  </a:cxn>
                  <a:cxn ang="0">
                    <a:pos x="1189" y="465"/>
                  </a:cxn>
                  <a:cxn ang="0">
                    <a:pos x="1189" y="89"/>
                  </a:cxn>
                  <a:cxn ang="0">
                    <a:pos x="1185" y="66"/>
                  </a:cxn>
                  <a:cxn ang="0">
                    <a:pos x="1176" y="45"/>
                  </a:cxn>
                  <a:cxn ang="0">
                    <a:pos x="1164" y="29"/>
                  </a:cxn>
                  <a:cxn ang="0">
                    <a:pos x="1149" y="19"/>
                  </a:cxn>
                  <a:cxn ang="0">
                    <a:pos x="1132" y="15"/>
                  </a:cxn>
                  <a:cxn ang="0">
                    <a:pos x="56" y="16"/>
                  </a:cxn>
                  <a:cxn ang="0">
                    <a:pos x="41" y="25"/>
                  </a:cxn>
                  <a:cxn ang="0">
                    <a:pos x="28" y="39"/>
                  </a:cxn>
                  <a:cxn ang="0">
                    <a:pos x="18" y="58"/>
                  </a:cxn>
                  <a:cxn ang="0">
                    <a:pos x="12" y="80"/>
                  </a:cxn>
                  <a:cxn ang="0">
                    <a:pos x="10" y="456"/>
                  </a:cxn>
                </a:cxnLst>
                <a:rect l="0" t="0" r="r" b="b"/>
                <a:pathLst>
                  <a:path w="1199" h="553">
                    <a:moveTo>
                      <a:pt x="0" y="97"/>
                    </a:moveTo>
                    <a:lnTo>
                      <a:pt x="0" y="88"/>
                    </a:lnTo>
                    <a:lnTo>
                      <a:pt x="2" y="78"/>
                    </a:lnTo>
                    <a:lnTo>
                      <a:pt x="3" y="69"/>
                    </a:lnTo>
                    <a:lnTo>
                      <a:pt x="5" y="60"/>
                    </a:lnTo>
                    <a:lnTo>
                      <a:pt x="8" y="51"/>
                    </a:lnTo>
                    <a:lnTo>
                      <a:pt x="12" y="43"/>
                    </a:lnTo>
                    <a:lnTo>
                      <a:pt x="15" y="36"/>
                    </a:lnTo>
                    <a:lnTo>
                      <a:pt x="20" y="29"/>
                    </a:lnTo>
                    <a:lnTo>
                      <a:pt x="25" y="22"/>
                    </a:lnTo>
                    <a:lnTo>
                      <a:pt x="30" y="17"/>
                    </a:lnTo>
                    <a:lnTo>
                      <a:pt x="35" y="12"/>
                    </a:lnTo>
                    <a:lnTo>
                      <a:pt x="41" y="8"/>
                    </a:lnTo>
                    <a:lnTo>
                      <a:pt x="47" y="4"/>
                    </a:lnTo>
                    <a:lnTo>
                      <a:pt x="54" y="2"/>
                    </a:lnTo>
                    <a:lnTo>
                      <a:pt x="61" y="0"/>
                    </a:lnTo>
                    <a:lnTo>
                      <a:pt x="67" y="0"/>
                    </a:lnTo>
                    <a:lnTo>
                      <a:pt x="1132" y="0"/>
                    </a:lnTo>
                    <a:lnTo>
                      <a:pt x="1138" y="0"/>
                    </a:lnTo>
                    <a:lnTo>
                      <a:pt x="1145" y="2"/>
                    </a:lnTo>
                    <a:lnTo>
                      <a:pt x="1152" y="4"/>
                    </a:lnTo>
                    <a:lnTo>
                      <a:pt x="1158" y="8"/>
                    </a:lnTo>
                    <a:lnTo>
                      <a:pt x="1164" y="12"/>
                    </a:lnTo>
                    <a:lnTo>
                      <a:pt x="1169" y="16"/>
                    </a:lnTo>
                    <a:lnTo>
                      <a:pt x="1175" y="22"/>
                    </a:lnTo>
                    <a:lnTo>
                      <a:pt x="1179" y="28"/>
                    </a:lnTo>
                    <a:lnTo>
                      <a:pt x="1184" y="35"/>
                    </a:lnTo>
                    <a:lnTo>
                      <a:pt x="1188" y="43"/>
                    </a:lnTo>
                    <a:lnTo>
                      <a:pt x="1191" y="51"/>
                    </a:lnTo>
                    <a:lnTo>
                      <a:pt x="1194" y="59"/>
                    </a:lnTo>
                    <a:lnTo>
                      <a:pt x="1196" y="68"/>
                    </a:lnTo>
                    <a:lnTo>
                      <a:pt x="1198" y="77"/>
                    </a:lnTo>
                    <a:lnTo>
                      <a:pt x="1199" y="87"/>
                    </a:lnTo>
                    <a:lnTo>
                      <a:pt x="1199" y="97"/>
                    </a:lnTo>
                    <a:lnTo>
                      <a:pt x="1199" y="456"/>
                    </a:lnTo>
                    <a:lnTo>
                      <a:pt x="1199" y="466"/>
                    </a:lnTo>
                    <a:lnTo>
                      <a:pt x="1198" y="476"/>
                    </a:lnTo>
                    <a:lnTo>
                      <a:pt x="1196" y="485"/>
                    </a:lnTo>
                    <a:lnTo>
                      <a:pt x="1194" y="494"/>
                    </a:lnTo>
                    <a:lnTo>
                      <a:pt x="1191" y="502"/>
                    </a:lnTo>
                    <a:lnTo>
                      <a:pt x="1188" y="511"/>
                    </a:lnTo>
                    <a:lnTo>
                      <a:pt x="1184" y="518"/>
                    </a:lnTo>
                    <a:lnTo>
                      <a:pt x="1180" y="525"/>
                    </a:lnTo>
                    <a:lnTo>
                      <a:pt x="1175" y="531"/>
                    </a:lnTo>
                    <a:lnTo>
                      <a:pt x="1170" y="537"/>
                    </a:lnTo>
                    <a:lnTo>
                      <a:pt x="1164" y="542"/>
                    </a:lnTo>
                    <a:lnTo>
                      <a:pt x="1158" y="546"/>
                    </a:lnTo>
                    <a:lnTo>
                      <a:pt x="1152" y="549"/>
                    </a:lnTo>
                    <a:lnTo>
                      <a:pt x="1146" y="551"/>
                    </a:lnTo>
                    <a:lnTo>
                      <a:pt x="1139" y="553"/>
                    </a:lnTo>
                    <a:lnTo>
                      <a:pt x="1132" y="553"/>
                    </a:lnTo>
                    <a:lnTo>
                      <a:pt x="68" y="553"/>
                    </a:lnTo>
                    <a:lnTo>
                      <a:pt x="61" y="553"/>
                    </a:lnTo>
                    <a:lnTo>
                      <a:pt x="54" y="552"/>
                    </a:lnTo>
                    <a:lnTo>
                      <a:pt x="48" y="549"/>
                    </a:lnTo>
                    <a:lnTo>
                      <a:pt x="42" y="546"/>
                    </a:lnTo>
                    <a:lnTo>
                      <a:pt x="36" y="542"/>
                    </a:lnTo>
                    <a:lnTo>
                      <a:pt x="30" y="537"/>
                    </a:lnTo>
                    <a:lnTo>
                      <a:pt x="25" y="532"/>
                    </a:lnTo>
                    <a:lnTo>
                      <a:pt x="20" y="525"/>
                    </a:lnTo>
                    <a:lnTo>
                      <a:pt x="16" y="519"/>
                    </a:lnTo>
                    <a:lnTo>
                      <a:pt x="12" y="511"/>
                    </a:lnTo>
                    <a:lnTo>
                      <a:pt x="9" y="503"/>
                    </a:lnTo>
                    <a:lnTo>
                      <a:pt x="6" y="495"/>
                    </a:lnTo>
                    <a:lnTo>
                      <a:pt x="3" y="486"/>
                    </a:lnTo>
                    <a:lnTo>
                      <a:pt x="2" y="476"/>
                    </a:lnTo>
                    <a:lnTo>
                      <a:pt x="0" y="467"/>
                    </a:lnTo>
                    <a:lnTo>
                      <a:pt x="0" y="457"/>
                    </a:lnTo>
                    <a:lnTo>
                      <a:pt x="0" y="97"/>
                    </a:lnTo>
                    <a:close/>
                    <a:moveTo>
                      <a:pt x="10" y="456"/>
                    </a:moveTo>
                    <a:lnTo>
                      <a:pt x="11" y="464"/>
                    </a:lnTo>
                    <a:lnTo>
                      <a:pt x="12" y="473"/>
                    </a:lnTo>
                    <a:lnTo>
                      <a:pt x="13" y="481"/>
                    </a:lnTo>
                    <a:lnTo>
                      <a:pt x="15" y="488"/>
                    </a:lnTo>
                    <a:lnTo>
                      <a:pt x="17" y="495"/>
                    </a:lnTo>
                    <a:lnTo>
                      <a:pt x="20" y="502"/>
                    </a:lnTo>
                    <a:lnTo>
                      <a:pt x="24" y="508"/>
                    </a:lnTo>
                    <a:lnTo>
                      <a:pt x="27" y="514"/>
                    </a:lnTo>
                    <a:lnTo>
                      <a:pt x="31" y="520"/>
                    </a:lnTo>
                    <a:lnTo>
                      <a:pt x="36" y="524"/>
                    </a:lnTo>
                    <a:lnTo>
                      <a:pt x="40" y="529"/>
                    </a:lnTo>
                    <a:lnTo>
                      <a:pt x="45" y="532"/>
                    </a:lnTo>
                    <a:lnTo>
                      <a:pt x="51" y="535"/>
                    </a:lnTo>
                    <a:lnTo>
                      <a:pt x="56" y="537"/>
                    </a:lnTo>
                    <a:lnTo>
                      <a:pt x="62" y="538"/>
                    </a:lnTo>
                    <a:lnTo>
                      <a:pt x="68" y="539"/>
                    </a:lnTo>
                    <a:lnTo>
                      <a:pt x="1131" y="539"/>
                    </a:lnTo>
                    <a:lnTo>
                      <a:pt x="1137" y="538"/>
                    </a:lnTo>
                    <a:lnTo>
                      <a:pt x="1143" y="537"/>
                    </a:lnTo>
                    <a:lnTo>
                      <a:pt x="1149" y="535"/>
                    </a:lnTo>
                    <a:lnTo>
                      <a:pt x="1154" y="532"/>
                    </a:lnTo>
                    <a:lnTo>
                      <a:pt x="1159" y="529"/>
                    </a:lnTo>
                    <a:lnTo>
                      <a:pt x="1164" y="525"/>
                    </a:lnTo>
                    <a:lnTo>
                      <a:pt x="1168" y="520"/>
                    </a:lnTo>
                    <a:lnTo>
                      <a:pt x="1172" y="515"/>
                    </a:lnTo>
                    <a:lnTo>
                      <a:pt x="1176" y="509"/>
                    </a:lnTo>
                    <a:lnTo>
                      <a:pt x="1179" y="503"/>
                    </a:lnTo>
                    <a:lnTo>
                      <a:pt x="1182" y="496"/>
                    </a:lnTo>
                    <a:lnTo>
                      <a:pt x="1184" y="489"/>
                    </a:lnTo>
                    <a:lnTo>
                      <a:pt x="1186" y="481"/>
                    </a:lnTo>
                    <a:lnTo>
                      <a:pt x="1188" y="473"/>
                    </a:lnTo>
                    <a:lnTo>
                      <a:pt x="1189" y="465"/>
                    </a:lnTo>
                    <a:lnTo>
                      <a:pt x="1189" y="456"/>
                    </a:lnTo>
                    <a:lnTo>
                      <a:pt x="1189" y="98"/>
                    </a:lnTo>
                    <a:lnTo>
                      <a:pt x="1189" y="89"/>
                    </a:lnTo>
                    <a:lnTo>
                      <a:pt x="1188" y="81"/>
                    </a:lnTo>
                    <a:lnTo>
                      <a:pt x="1186" y="73"/>
                    </a:lnTo>
                    <a:lnTo>
                      <a:pt x="1185" y="66"/>
                    </a:lnTo>
                    <a:lnTo>
                      <a:pt x="1182" y="58"/>
                    </a:lnTo>
                    <a:lnTo>
                      <a:pt x="1179" y="51"/>
                    </a:lnTo>
                    <a:lnTo>
                      <a:pt x="1176" y="45"/>
                    </a:lnTo>
                    <a:lnTo>
                      <a:pt x="1172" y="39"/>
                    </a:lnTo>
                    <a:lnTo>
                      <a:pt x="1168" y="34"/>
                    </a:lnTo>
                    <a:lnTo>
                      <a:pt x="1164" y="29"/>
                    </a:lnTo>
                    <a:lnTo>
                      <a:pt x="1159" y="25"/>
                    </a:lnTo>
                    <a:lnTo>
                      <a:pt x="1154" y="21"/>
                    </a:lnTo>
                    <a:lnTo>
                      <a:pt x="1149" y="19"/>
                    </a:lnTo>
                    <a:lnTo>
                      <a:pt x="1144" y="17"/>
                    </a:lnTo>
                    <a:lnTo>
                      <a:pt x="1138" y="15"/>
                    </a:lnTo>
                    <a:lnTo>
                      <a:pt x="1132" y="15"/>
                    </a:lnTo>
                    <a:lnTo>
                      <a:pt x="68" y="15"/>
                    </a:lnTo>
                    <a:lnTo>
                      <a:pt x="62" y="15"/>
                    </a:lnTo>
                    <a:lnTo>
                      <a:pt x="56" y="16"/>
                    </a:lnTo>
                    <a:lnTo>
                      <a:pt x="51" y="18"/>
                    </a:lnTo>
                    <a:lnTo>
                      <a:pt x="46" y="21"/>
                    </a:lnTo>
                    <a:lnTo>
                      <a:pt x="41" y="25"/>
                    </a:lnTo>
                    <a:lnTo>
                      <a:pt x="36" y="29"/>
                    </a:lnTo>
                    <a:lnTo>
                      <a:pt x="32" y="34"/>
                    </a:lnTo>
                    <a:lnTo>
                      <a:pt x="28" y="39"/>
                    </a:lnTo>
                    <a:lnTo>
                      <a:pt x="24" y="45"/>
                    </a:lnTo>
                    <a:lnTo>
                      <a:pt x="20" y="51"/>
                    </a:lnTo>
                    <a:lnTo>
                      <a:pt x="18" y="58"/>
                    </a:lnTo>
                    <a:lnTo>
                      <a:pt x="15" y="65"/>
                    </a:lnTo>
                    <a:lnTo>
                      <a:pt x="13" y="72"/>
                    </a:lnTo>
                    <a:lnTo>
                      <a:pt x="12" y="80"/>
                    </a:lnTo>
                    <a:lnTo>
                      <a:pt x="11" y="88"/>
                    </a:lnTo>
                    <a:lnTo>
                      <a:pt x="10" y="97"/>
                    </a:lnTo>
                    <a:lnTo>
                      <a:pt x="10" y="456"/>
                    </a:lnTo>
                    <a:close/>
                  </a:path>
                </a:pathLst>
              </a:custGeom>
              <a:solidFill>
                <a:srgbClr val="C0504D"/>
              </a:solidFill>
              <a:ln w="0" cap="flat">
                <a:solidFill>
                  <a:srgbClr val="C0504D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sp>
            <p:nvSpPr>
              <p:cNvPr id="1114" name="Rectangle 90"/>
              <p:cNvSpPr>
                <a:spLocks noChangeArrowheads="1"/>
              </p:cNvSpPr>
              <p:nvPr/>
            </p:nvSpPr>
            <p:spPr bwMode="auto">
              <a:xfrm>
                <a:off x="1618" y="3649"/>
                <a:ext cx="725" cy="29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ES" sz="2500" b="1" i="0" u="none" strike="noStrike" cap="none" normalizeH="0" baseline="0" dirty="0" smtClean="0">
                    <a:ln>
                      <a:noFill/>
                    </a:ln>
                    <a:solidFill>
                      <a:srgbClr val="C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Obligatorio</a:t>
                </a:r>
                <a:endParaRPr kumimoji="0" lang="es-ES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115" name="Freeform 91"/>
              <p:cNvSpPr>
                <a:spLocks/>
              </p:cNvSpPr>
              <p:nvPr/>
            </p:nvSpPr>
            <p:spPr bwMode="auto">
              <a:xfrm>
                <a:off x="1244" y="2044"/>
                <a:ext cx="1190" cy="808"/>
              </a:xfrm>
              <a:custGeom>
                <a:avLst/>
                <a:gdLst/>
                <a:ahLst/>
                <a:cxnLst>
                  <a:cxn ang="0">
                    <a:pos x="0" y="724"/>
                  </a:cxn>
                  <a:cxn ang="0">
                    <a:pos x="724" y="0"/>
                  </a:cxn>
                  <a:cxn ang="0">
                    <a:pos x="8476" y="0"/>
                  </a:cxn>
                  <a:cxn ang="0">
                    <a:pos x="9200" y="724"/>
                  </a:cxn>
                  <a:cxn ang="0">
                    <a:pos x="9200" y="3620"/>
                  </a:cxn>
                  <a:cxn ang="0">
                    <a:pos x="8476" y="4344"/>
                  </a:cxn>
                  <a:cxn ang="0">
                    <a:pos x="724" y="4344"/>
                  </a:cxn>
                  <a:cxn ang="0">
                    <a:pos x="0" y="3620"/>
                  </a:cxn>
                  <a:cxn ang="0">
                    <a:pos x="0" y="724"/>
                  </a:cxn>
                </a:cxnLst>
                <a:rect l="0" t="0" r="r" b="b"/>
                <a:pathLst>
                  <a:path w="9200" h="4344">
                    <a:moveTo>
                      <a:pt x="0" y="724"/>
                    </a:moveTo>
                    <a:cubicBezTo>
                      <a:pt x="0" y="325"/>
                      <a:pt x="325" y="0"/>
                      <a:pt x="724" y="0"/>
                    </a:cubicBezTo>
                    <a:lnTo>
                      <a:pt x="8476" y="0"/>
                    </a:lnTo>
                    <a:cubicBezTo>
                      <a:pt x="8876" y="0"/>
                      <a:pt x="9200" y="325"/>
                      <a:pt x="9200" y="724"/>
                    </a:cubicBezTo>
                    <a:lnTo>
                      <a:pt x="9200" y="3620"/>
                    </a:lnTo>
                    <a:cubicBezTo>
                      <a:pt x="9200" y="4020"/>
                      <a:pt x="8876" y="4344"/>
                      <a:pt x="8476" y="4344"/>
                    </a:cubicBezTo>
                    <a:lnTo>
                      <a:pt x="724" y="4344"/>
                    </a:lnTo>
                    <a:cubicBezTo>
                      <a:pt x="325" y="4344"/>
                      <a:pt x="0" y="4020"/>
                      <a:pt x="0" y="3620"/>
                    </a:cubicBezTo>
                    <a:lnTo>
                      <a:pt x="0" y="724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solidFill>
                  <a:srgbClr val="00000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sp>
            <p:nvSpPr>
              <p:cNvPr id="1116" name="Freeform 92"/>
              <p:cNvSpPr>
                <a:spLocks noEditPoints="1"/>
              </p:cNvSpPr>
              <p:nvPr/>
            </p:nvSpPr>
            <p:spPr bwMode="auto">
              <a:xfrm>
                <a:off x="1239" y="2037"/>
                <a:ext cx="1200" cy="823"/>
              </a:xfrm>
              <a:custGeom>
                <a:avLst/>
                <a:gdLst/>
                <a:ahLst/>
                <a:cxnLst>
                  <a:cxn ang="0">
                    <a:pos x="2" y="114"/>
                  </a:cxn>
                  <a:cxn ang="0">
                    <a:pos x="12" y="75"/>
                  </a:cxn>
                  <a:cxn ang="0">
                    <a:pos x="29" y="42"/>
                  </a:cxn>
                  <a:cxn ang="0">
                    <a:pos x="51" y="17"/>
                  </a:cxn>
                  <a:cxn ang="0">
                    <a:pos x="78" y="3"/>
                  </a:cxn>
                  <a:cxn ang="0">
                    <a:pos x="1101" y="0"/>
                  </a:cxn>
                  <a:cxn ang="0">
                    <a:pos x="1130" y="6"/>
                  </a:cxn>
                  <a:cxn ang="0">
                    <a:pos x="1156" y="24"/>
                  </a:cxn>
                  <a:cxn ang="0">
                    <a:pos x="1177" y="51"/>
                  </a:cxn>
                  <a:cxn ang="0">
                    <a:pos x="1192" y="87"/>
                  </a:cxn>
                  <a:cxn ang="0">
                    <a:pos x="1199" y="127"/>
                  </a:cxn>
                  <a:cxn ang="0">
                    <a:pos x="1199" y="695"/>
                  </a:cxn>
                  <a:cxn ang="0">
                    <a:pos x="1192" y="736"/>
                  </a:cxn>
                  <a:cxn ang="0">
                    <a:pos x="1177" y="771"/>
                  </a:cxn>
                  <a:cxn ang="0">
                    <a:pos x="1157" y="799"/>
                  </a:cxn>
                  <a:cxn ang="0">
                    <a:pos x="1131" y="816"/>
                  </a:cxn>
                  <a:cxn ang="0">
                    <a:pos x="1101" y="823"/>
                  </a:cxn>
                  <a:cxn ang="0">
                    <a:pos x="79" y="820"/>
                  </a:cxn>
                  <a:cxn ang="0">
                    <a:pos x="52" y="806"/>
                  </a:cxn>
                  <a:cxn ang="0">
                    <a:pos x="29" y="782"/>
                  </a:cxn>
                  <a:cxn ang="0">
                    <a:pos x="12" y="749"/>
                  </a:cxn>
                  <a:cxn ang="0">
                    <a:pos x="2" y="710"/>
                  </a:cxn>
                  <a:cxn ang="0">
                    <a:pos x="0" y="142"/>
                  </a:cxn>
                  <a:cxn ang="0">
                    <a:pos x="12" y="706"/>
                  </a:cxn>
                  <a:cxn ang="0">
                    <a:pos x="21" y="741"/>
                  </a:cxn>
                  <a:cxn ang="0">
                    <a:pos x="36" y="771"/>
                  </a:cxn>
                  <a:cxn ang="0">
                    <a:pos x="56" y="793"/>
                  </a:cxn>
                  <a:cxn ang="0">
                    <a:pos x="81" y="805"/>
                  </a:cxn>
                  <a:cxn ang="0">
                    <a:pos x="1101" y="808"/>
                  </a:cxn>
                  <a:cxn ang="0">
                    <a:pos x="1127" y="802"/>
                  </a:cxn>
                  <a:cxn ang="0">
                    <a:pos x="1150" y="787"/>
                  </a:cxn>
                  <a:cxn ang="0">
                    <a:pos x="1169" y="762"/>
                  </a:cxn>
                  <a:cxn ang="0">
                    <a:pos x="1183" y="731"/>
                  </a:cxn>
                  <a:cxn ang="0">
                    <a:pos x="1189" y="694"/>
                  </a:cxn>
                  <a:cxn ang="0">
                    <a:pos x="1189" y="130"/>
                  </a:cxn>
                  <a:cxn ang="0">
                    <a:pos x="1183" y="93"/>
                  </a:cxn>
                  <a:cxn ang="0">
                    <a:pos x="1169" y="62"/>
                  </a:cxn>
                  <a:cxn ang="0">
                    <a:pos x="1151" y="37"/>
                  </a:cxn>
                  <a:cxn ang="0">
                    <a:pos x="1128" y="21"/>
                  </a:cxn>
                  <a:cxn ang="0">
                    <a:pos x="1101" y="15"/>
                  </a:cxn>
                  <a:cxn ang="0">
                    <a:pos x="81" y="17"/>
                  </a:cxn>
                  <a:cxn ang="0">
                    <a:pos x="57" y="30"/>
                  </a:cxn>
                  <a:cxn ang="0">
                    <a:pos x="36" y="52"/>
                  </a:cxn>
                  <a:cxn ang="0">
                    <a:pos x="21" y="81"/>
                  </a:cxn>
                  <a:cxn ang="0">
                    <a:pos x="12" y="116"/>
                  </a:cxn>
                  <a:cxn ang="0">
                    <a:pos x="10" y="681"/>
                  </a:cxn>
                </a:cxnLst>
                <a:rect l="0" t="0" r="r" b="b"/>
                <a:pathLst>
                  <a:path w="1200" h="823">
                    <a:moveTo>
                      <a:pt x="0" y="142"/>
                    </a:moveTo>
                    <a:lnTo>
                      <a:pt x="0" y="128"/>
                    </a:lnTo>
                    <a:lnTo>
                      <a:pt x="2" y="114"/>
                    </a:lnTo>
                    <a:lnTo>
                      <a:pt x="4" y="100"/>
                    </a:lnTo>
                    <a:lnTo>
                      <a:pt x="7" y="87"/>
                    </a:lnTo>
                    <a:lnTo>
                      <a:pt x="12" y="75"/>
                    </a:lnTo>
                    <a:lnTo>
                      <a:pt x="16" y="63"/>
                    </a:lnTo>
                    <a:lnTo>
                      <a:pt x="22" y="52"/>
                    </a:lnTo>
                    <a:lnTo>
                      <a:pt x="29" y="42"/>
                    </a:lnTo>
                    <a:lnTo>
                      <a:pt x="36" y="33"/>
                    </a:lnTo>
                    <a:lnTo>
                      <a:pt x="43" y="25"/>
                    </a:lnTo>
                    <a:lnTo>
                      <a:pt x="51" y="17"/>
                    </a:lnTo>
                    <a:lnTo>
                      <a:pt x="60" y="11"/>
                    </a:lnTo>
                    <a:lnTo>
                      <a:pt x="69" y="6"/>
                    </a:lnTo>
                    <a:lnTo>
                      <a:pt x="78" y="3"/>
                    </a:lnTo>
                    <a:lnTo>
                      <a:pt x="88" y="1"/>
                    </a:lnTo>
                    <a:lnTo>
                      <a:pt x="98" y="0"/>
                    </a:lnTo>
                    <a:lnTo>
                      <a:pt x="1101" y="0"/>
                    </a:lnTo>
                    <a:lnTo>
                      <a:pt x="1111" y="1"/>
                    </a:lnTo>
                    <a:lnTo>
                      <a:pt x="1121" y="3"/>
                    </a:lnTo>
                    <a:lnTo>
                      <a:pt x="1130" y="6"/>
                    </a:lnTo>
                    <a:lnTo>
                      <a:pt x="1139" y="11"/>
                    </a:lnTo>
                    <a:lnTo>
                      <a:pt x="1148" y="17"/>
                    </a:lnTo>
                    <a:lnTo>
                      <a:pt x="1156" y="24"/>
                    </a:lnTo>
                    <a:lnTo>
                      <a:pt x="1164" y="32"/>
                    </a:lnTo>
                    <a:lnTo>
                      <a:pt x="1171" y="41"/>
                    </a:lnTo>
                    <a:lnTo>
                      <a:pt x="1177" y="51"/>
                    </a:lnTo>
                    <a:lnTo>
                      <a:pt x="1183" y="62"/>
                    </a:lnTo>
                    <a:lnTo>
                      <a:pt x="1188" y="74"/>
                    </a:lnTo>
                    <a:lnTo>
                      <a:pt x="1192" y="87"/>
                    </a:lnTo>
                    <a:lnTo>
                      <a:pt x="1195" y="100"/>
                    </a:lnTo>
                    <a:lnTo>
                      <a:pt x="1198" y="113"/>
                    </a:lnTo>
                    <a:lnTo>
                      <a:pt x="1199" y="127"/>
                    </a:lnTo>
                    <a:lnTo>
                      <a:pt x="1200" y="142"/>
                    </a:lnTo>
                    <a:lnTo>
                      <a:pt x="1200" y="681"/>
                    </a:lnTo>
                    <a:lnTo>
                      <a:pt x="1199" y="695"/>
                    </a:lnTo>
                    <a:lnTo>
                      <a:pt x="1198" y="709"/>
                    </a:lnTo>
                    <a:lnTo>
                      <a:pt x="1196" y="723"/>
                    </a:lnTo>
                    <a:lnTo>
                      <a:pt x="1192" y="736"/>
                    </a:lnTo>
                    <a:lnTo>
                      <a:pt x="1188" y="748"/>
                    </a:lnTo>
                    <a:lnTo>
                      <a:pt x="1183" y="760"/>
                    </a:lnTo>
                    <a:lnTo>
                      <a:pt x="1177" y="771"/>
                    </a:lnTo>
                    <a:lnTo>
                      <a:pt x="1171" y="781"/>
                    </a:lnTo>
                    <a:lnTo>
                      <a:pt x="1164" y="790"/>
                    </a:lnTo>
                    <a:lnTo>
                      <a:pt x="1157" y="799"/>
                    </a:lnTo>
                    <a:lnTo>
                      <a:pt x="1148" y="806"/>
                    </a:lnTo>
                    <a:lnTo>
                      <a:pt x="1140" y="812"/>
                    </a:lnTo>
                    <a:lnTo>
                      <a:pt x="1131" y="816"/>
                    </a:lnTo>
                    <a:lnTo>
                      <a:pt x="1121" y="820"/>
                    </a:lnTo>
                    <a:lnTo>
                      <a:pt x="1112" y="822"/>
                    </a:lnTo>
                    <a:lnTo>
                      <a:pt x="1101" y="823"/>
                    </a:lnTo>
                    <a:lnTo>
                      <a:pt x="99" y="823"/>
                    </a:lnTo>
                    <a:lnTo>
                      <a:pt x="89" y="822"/>
                    </a:lnTo>
                    <a:lnTo>
                      <a:pt x="79" y="820"/>
                    </a:lnTo>
                    <a:lnTo>
                      <a:pt x="69" y="817"/>
                    </a:lnTo>
                    <a:lnTo>
                      <a:pt x="60" y="812"/>
                    </a:lnTo>
                    <a:lnTo>
                      <a:pt x="52" y="806"/>
                    </a:lnTo>
                    <a:lnTo>
                      <a:pt x="44" y="799"/>
                    </a:lnTo>
                    <a:lnTo>
                      <a:pt x="36" y="791"/>
                    </a:lnTo>
                    <a:lnTo>
                      <a:pt x="29" y="782"/>
                    </a:lnTo>
                    <a:lnTo>
                      <a:pt x="22" y="772"/>
                    </a:lnTo>
                    <a:lnTo>
                      <a:pt x="17" y="761"/>
                    </a:lnTo>
                    <a:lnTo>
                      <a:pt x="12" y="749"/>
                    </a:lnTo>
                    <a:lnTo>
                      <a:pt x="8" y="737"/>
                    </a:lnTo>
                    <a:lnTo>
                      <a:pt x="4" y="724"/>
                    </a:lnTo>
                    <a:lnTo>
                      <a:pt x="2" y="710"/>
                    </a:lnTo>
                    <a:lnTo>
                      <a:pt x="0" y="696"/>
                    </a:lnTo>
                    <a:lnTo>
                      <a:pt x="0" y="681"/>
                    </a:lnTo>
                    <a:lnTo>
                      <a:pt x="0" y="142"/>
                    </a:lnTo>
                    <a:close/>
                    <a:moveTo>
                      <a:pt x="10" y="681"/>
                    </a:moveTo>
                    <a:lnTo>
                      <a:pt x="11" y="693"/>
                    </a:lnTo>
                    <a:lnTo>
                      <a:pt x="12" y="706"/>
                    </a:lnTo>
                    <a:lnTo>
                      <a:pt x="14" y="718"/>
                    </a:lnTo>
                    <a:lnTo>
                      <a:pt x="17" y="730"/>
                    </a:lnTo>
                    <a:lnTo>
                      <a:pt x="21" y="741"/>
                    </a:lnTo>
                    <a:lnTo>
                      <a:pt x="25" y="752"/>
                    </a:lnTo>
                    <a:lnTo>
                      <a:pt x="30" y="762"/>
                    </a:lnTo>
                    <a:lnTo>
                      <a:pt x="36" y="771"/>
                    </a:lnTo>
                    <a:lnTo>
                      <a:pt x="42" y="779"/>
                    </a:lnTo>
                    <a:lnTo>
                      <a:pt x="49" y="786"/>
                    </a:lnTo>
                    <a:lnTo>
                      <a:pt x="56" y="793"/>
                    </a:lnTo>
                    <a:lnTo>
                      <a:pt x="64" y="798"/>
                    </a:lnTo>
                    <a:lnTo>
                      <a:pt x="72" y="802"/>
                    </a:lnTo>
                    <a:lnTo>
                      <a:pt x="81" y="805"/>
                    </a:lnTo>
                    <a:lnTo>
                      <a:pt x="89" y="807"/>
                    </a:lnTo>
                    <a:lnTo>
                      <a:pt x="99" y="808"/>
                    </a:lnTo>
                    <a:lnTo>
                      <a:pt x="1101" y="808"/>
                    </a:lnTo>
                    <a:lnTo>
                      <a:pt x="1110" y="807"/>
                    </a:lnTo>
                    <a:lnTo>
                      <a:pt x="1119" y="806"/>
                    </a:lnTo>
                    <a:lnTo>
                      <a:pt x="1127" y="802"/>
                    </a:lnTo>
                    <a:lnTo>
                      <a:pt x="1135" y="798"/>
                    </a:lnTo>
                    <a:lnTo>
                      <a:pt x="1143" y="793"/>
                    </a:lnTo>
                    <a:lnTo>
                      <a:pt x="1150" y="787"/>
                    </a:lnTo>
                    <a:lnTo>
                      <a:pt x="1157" y="779"/>
                    </a:lnTo>
                    <a:lnTo>
                      <a:pt x="1164" y="771"/>
                    </a:lnTo>
                    <a:lnTo>
                      <a:pt x="1169" y="762"/>
                    </a:lnTo>
                    <a:lnTo>
                      <a:pt x="1174" y="752"/>
                    </a:lnTo>
                    <a:lnTo>
                      <a:pt x="1179" y="742"/>
                    </a:lnTo>
                    <a:lnTo>
                      <a:pt x="1183" y="731"/>
                    </a:lnTo>
                    <a:lnTo>
                      <a:pt x="1186" y="719"/>
                    </a:lnTo>
                    <a:lnTo>
                      <a:pt x="1188" y="707"/>
                    </a:lnTo>
                    <a:lnTo>
                      <a:pt x="1189" y="694"/>
                    </a:lnTo>
                    <a:lnTo>
                      <a:pt x="1190" y="681"/>
                    </a:lnTo>
                    <a:lnTo>
                      <a:pt x="1190" y="143"/>
                    </a:lnTo>
                    <a:lnTo>
                      <a:pt x="1189" y="130"/>
                    </a:lnTo>
                    <a:lnTo>
                      <a:pt x="1188" y="117"/>
                    </a:lnTo>
                    <a:lnTo>
                      <a:pt x="1186" y="105"/>
                    </a:lnTo>
                    <a:lnTo>
                      <a:pt x="1183" y="93"/>
                    </a:lnTo>
                    <a:lnTo>
                      <a:pt x="1179" y="82"/>
                    </a:lnTo>
                    <a:lnTo>
                      <a:pt x="1175" y="71"/>
                    </a:lnTo>
                    <a:lnTo>
                      <a:pt x="1169" y="62"/>
                    </a:lnTo>
                    <a:lnTo>
                      <a:pt x="1164" y="52"/>
                    </a:lnTo>
                    <a:lnTo>
                      <a:pt x="1158" y="44"/>
                    </a:lnTo>
                    <a:lnTo>
                      <a:pt x="1151" y="37"/>
                    </a:lnTo>
                    <a:lnTo>
                      <a:pt x="1143" y="30"/>
                    </a:lnTo>
                    <a:lnTo>
                      <a:pt x="1136" y="25"/>
                    </a:lnTo>
                    <a:lnTo>
                      <a:pt x="1128" y="21"/>
                    </a:lnTo>
                    <a:lnTo>
                      <a:pt x="1119" y="18"/>
                    </a:lnTo>
                    <a:lnTo>
                      <a:pt x="1110" y="16"/>
                    </a:lnTo>
                    <a:lnTo>
                      <a:pt x="1101" y="15"/>
                    </a:lnTo>
                    <a:lnTo>
                      <a:pt x="99" y="15"/>
                    </a:lnTo>
                    <a:lnTo>
                      <a:pt x="90" y="16"/>
                    </a:lnTo>
                    <a:lnTo>
                      <a:pt x="81" y="17"/>
                    </a:lnTo>
                    <a:lnTo>
                      <a:pt x="72" y="21"/>
                    </a:lnTo>
                    <a:lnTo>
                      <a:pt x="64" y="25"/>
                    </a:lnTo>
                    <a:lnTo>
                      <a:pt x="57" y="30"/>
                    </a:lnTo>
                    <a:lnTo>
                      <a:pt x="49" y="37"/>
                    </a:lnTo>
                    <a:lnTo>
                      <a:pt x="42" y="44"/>
                    </a:lnTo>
                    <a:lnTo>
                      <a:pt x="36" y="52"/>
                    </a:lnTo>
                    <a:lnTo>
                      <a:pt x="30" y="61"/>
                    </a:lnTo>
                    <a:lnTo>
                      <a:pt x="25" y="71"/>
                    </a:lnTo>
                    <a:lnTo>
                      <a:pt x="21" y="81"/>
                    </a:lnTo>
                    <a:lnTo>
                      <a:pt x="17" y="92"/>
                    </a:lnTo>
                    <a:lnTo>
                      <a:pt x="14" y="104"/>
                    </a:lnTo>
                    <a:lnTo>
                      <a:pt x="12" y="116"/>
                    </a:lnTo>
                    <a:lnTo>
                      <a:pt x="11" y="129"/>
                    </a:lnTo>
                    <a:lnTo>
                      <a:pt x="10" y="142"/>
                    </a:lnTo>
                    <a:lnTo>
                      <a:pt x="10" y="681"/>
                    </a:lnTo>
                    <a:close/>
                  </a:path>
                </a:pathLst>
              </a:custGeom>
              <a:solidFill>
                <a:srgbClr val="C0504D"/>
              </a:solidFill>
              <a:ln w="0" cap="flat">
                <a:solidFill>
                  <a:srgbClr val="C0504D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sp>
            <p:nvSpPr>
              <p:cNvPr id="1120" name="Rectangle 96"/>
              <p:cNvSpPr>
                <a:spLocks noChangeArrowheads="1"/>
              </p:cNvSpPr>
              <p:nvPr/>
            </p:nvSpPr>
            <p:spPr bwMode="auto">
              <a:xfrm>
                <a:off x="1292" y="2069"/>
                <a:ext cx="1134" cy="77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es-ES" sz="2000" dirty="0" smtClean="0">
                    <a:solidFill>
                      <a:srgbClr val="C00000"/>
                    </a:solidFill>
                    <a:latin typeface="Calibri" pitchFamily="34" charset="0"/>
                    <a:cs typeface="Arial" pitchFamily="34" charset="0"/>
                  </a:rPr>
                  <a:t>Voluntario y p</a:t>
                </a:r>
                <a:r>
                  <a:rPr kumimoji="0" lang="es-ES" sz="2000" b="1" i="0" u="none" strike="noStrike" cap="none" normalizeH="0" baseline="0" dirty="0" smtClean="0">
                    <a:ln>
                      <a:noFill/>
                    </a:ln>
                    <a:solidFill>
                      <a:srgbClr val="C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osterior a la certificación</a:t>
                </a:r>
                <a:r>
                  <a:rPr kumimoji="0" lang="es-ES" sz="2000" b="1" i="0" u="none" strike="noStrike" cap="none" normalizeH="0" dirty="0" smtClean="0">
                    <a:ln>
                      <a:noFill/>
                    </a:ln>
                    <a:solidFill>
                      <a:srgbClr val="C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de programas</a:t>
                </a:r>
                <a:r>
                  <a:rPr kumimoji="0" lang="es-ES" sz="2000" b="1" i="0" u="none" strike="noStrike" cap="none" normalizeH="0" baseline="0" dirty="0" smtClean="0">
                    <a:ln>
                      <a:noFill/>
                    </a:ln>
                    <a:solidFill>
                      <a:srgbClr val="C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 </a:t>
                </a:r>
                <a:endParaRPr kumimoji="0" lang="es-ES" sz="16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pic>
            <p:nvPicPr>
              <p:cNvPr id="1123" name="Picture 99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981" y="3081"/>
                <a:ext cx="3654" cy="8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124" name="Picture 100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981" y="3081"/>
                <a:ext cx="3654" cy="8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125" name="Rectangle 101"/>
              <p:cNvSpPr>
                <a:spLocks noChangeArrowheads="1"/>
              </p:cNvSpPr>
              <p:nvPr/>
            </p:nvSpPr>
            <p:spPr bwMode="auto">
              <a:xfrm>
                <a:off x="1910" y="1470"/>
                <a:ext cx="2052" cy="21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ES" sz="1900" b="1" i="0" u="none" strike="noStrike" cap="none" normalizeH="0" baseline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Arial" pitchFamily="34" charset="0"/>
                    <a:cs typeface="Arial" pitchFamily="34" charset="0"/>
                  </a:rPr>
                  <a:t>CERTIFICACIÓN DE COMPETENCIAS</a:t>
                </a:r>
                <a:endParaRPr kumimoji="0" lang="es-ES" sz="1800" b="0" i="0" u="none" strike="noStrike" cap="none" normalizeH="0" baseline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pic>
            <p:nvPicPr>
              <p:cNvPr id="1126" name="Picture 102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2716" y="1384"/>
                <a:ext cx="317" cy="265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127" name="Picture 103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2716" y="1384"/>
                <a:ext cx="317" cy="265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128" name="Rectangle 104"/>
              <p:cNvSpPr>
                <a:spLocks noChangeArrowheads="1"/>
              </p:cNvSpPr>
              <p:nvPr/>
            </p:nvSpPr>
            <p:spPr bwMode="auto">
              <a:xfrm>
                <a:off x="174" y="3120"/>
                <a:ext cx="339" cy="1003"/>
              </a:xfrm>
              <a:prstGeom prst="rect">
                <a:avLst/>
              </a:prstGeom>
              <a:solidFill>
                <a:srgbClr val="FEF0FA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sp>
            <p:nvSpPr>
              <p:cNvPr id="1129" name="Freeform 105"/>
              <p:cNvSpPr>
                <a:spLocks noEditPoints="1"/>
              </p:cNvSpPr>
              <p:nvPr/>
            </p:nvSpPr>
            <p:spPr bwMode="auto">
              <a:xfrm>
                <a:off x="171" y="3116"/>
                <a:ext cx="346" cy="1012"/>
              </a:xfrm>
              <a:custGeom>
                <a:avLst/>
                <a:gdLst/>
                <a:ahLst/>
                <a:cxnLst>
                  <a:cxn ang="0">
                    <a:pos x="0" y="24"/>
                  </a:cxn>
                  <a:cxn ang="0">
                    <a:pos x="24" y="0"/>
                  </a:cxn>
                  <a:cxn ang="0">
                    <a:pos x="2648" y="0"/>
                  </a:cxn>
                  <a:cxn ang="0">
                    <a:pos x="2672" y="24"/>
                  </a:cxn>
                  <a:cxn ang="0">
                    <a:pos x="2672" y="5416"/>
                  </a:cxn>
                  <a:cxn ang="0">
                    <a:pos x="2648" y="5440"/>
                  </a:cxn>
                  <a:cxn ang="0">
                    <a:pos x="24" y="5440"/>
                  </a:cxn>
                  <a:cxn ang="0">
                    <a:pos x="0" y="5416"/>
                  </a:cxn>
                  <a:cxn ang="0">
                    <a:pos x="0" y="24"/>
                  </a:cxn>
                  <a:cxn ang="0">
                    <a:pos x="48" y="5416"/>
                  </a:cxn>
                  <a:cxn ang="0">
                    <a:pos x="24" y="5392"/>
                  </a:cxn>
                  <a:cxn ang="0">
                    <a:pos x="2648" y="5392"/>
                  </a:cxn>
                  <a:cxn ang="0">
                    <a:pos x="2624" y="5416"/>
                  </a:cxn>
                  <a:cxn ang="0">
                    <a:pos x="2624" y="24"/>
                  </a:cxn>
                  <a:cxn ang="0">
                    <a:pos x="2648" y="48"/>
                  </a:cxn>
                  <a:cxn ang="0">
                    <a:pos x="24" y="48"/>
                  </a:cxn>
                  <a:cxn ang="0">
                    <a:pos x="48" y="24"/>
                  </a:cxn>
                  <a:cxn ang="0">
                    <a:pos x="48" y="5416"/>
                  </a:cxn>
                </a:cxnLst>
                <a:rect l="0" t="0" r="r" b="b"/>
                <a:pathLst>
                  <a:path w="2672" h="5440">
                    <a:moveTo>
                      <a:pt x="0" y="24"/>
                    </a:moveTo>
                    <a:cubicBezTo>
                      <a:pt x="0" y="11"/>
                      <a:pt x="11" y="0"/>
                      <a:pt x="24" y="0"/>
                    </a:cubicBezTo>
                    <a:lnTo>
                      <a:pt x="2648" y="0"/>
                    </a:lnTo>
                    <a:cubicBezTo>
                      <a:pt x="2662" y="0"/>
                      <a:pt x="2672" y="11"/>
                      <a:pt x="2672" y="24"/>
                    </a:cubicBezTo>
                    <a:lnTo>
                      <a:pt x="2672" y="5416"/>
                    </a:lnTo>
                    <a:cubicBezTo>
                      <a:pt x="2672" y="5430"/>
                      <a:pt x="2662" y="5440"/>
                      <a:pt x="2648" y="5440"/>
                    </a:cubicBezTo>
                    <a:lnTo>
                      <a:pt x="24" y="5440"/>
                    </a:lnTo>
                    <a:cubicBezTo>
                      <a:pt x="11" y="5440"/>
                      <a:pt x="0" y="5430"/>
                      <a:pt x="0" y="5416"/>
                    </a:cubicBezTo>
                    <a:lnTo>
                      <a:pt x="0" y="24"/>
                    </a:lnTo>
                    <a:close/>
                    <a:moveTo>
                      <a:pt x="48" y="5416"/>
                    </a:moveTo>
                    <a:lnTo>
                      <a:pt x="24" y="5392"/>
                    </a:lnTo>
                    <a:lnTo>
                      <a:pt x="2648" y="5392"/>
                    </a:lnTo>
                    <a:lnTo>
                      <a:pt x="2624" y="5416"/>
                    </a:lnTo>
                    <a:lnTo>
                      <a:pt x="2624" y="24"/>
                    </a:lnTo>
                    <a:lnTo>
                      <a:pt x="2648" y="48"/>
                    </a:lnTo>
                    <a:lnTo>
                      <a:pt x="24" y="48"/>
                    </a:lnTo>
                    <a:lnTo>
                      <a:pt x="48" y="24"/>
                    </a:lnTo>
                    <a:lnTo>
                      <a:pt x="48" y="5416"/>
                    </a:lnTo>
                    <a:close/>
                  </a:path>
                </a:pathLst>
              </a:custGeom>
              <a:solidFill>
                <a:srgbClr val="9BBB59"/>
              </a:solidFill>
              <a:ln w="0" cap="flat">
                <a:solidFill>
                  <a:srgbClr val="9BBB5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sp>
            <p:nvSpPr>
              <p:cNvPr id="1130" name="Rectangle 106"/>
              <p:cNvSpPr>
                <a:spLocks noChangeArrowheads="1"/>
              </p:cNvSpPr>
              <p:nvPr/>
            </p:nvSpPr>
            <p:spPr bwMode="auto">
              <a:xfrm rot="16200000">
                <a:off x="-28" y="3572"/>
                <a:ext cx="606" cy="23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ES" b="1" i="0" u="none" strike="noStrike" cap="none" normalizeH="0" baseline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latin typeface="Calibri" pitchFamily="34" charset="0"/>
                    <a:cs typeface="Arial" pitchFamily="34" charset="0"/>
                  </a:rPr>
                  <a:t>Nivel I</a:t>
                </a:r>
                <a:endParaRPr kumimoji="0" lang="es-ES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1131" name="Rectangle 107"/>
              <p:cNvSpPr>
                <a:spLocks noChangeArrowheads="1"/>
              </p:cNvSpPr>
              <p:nvPr/>
            </p:nvSpPr>
            <p:spPr bwMode="auto">
              <a:xfrm>
                <a:off x="174" y="1909"/>
                <a:ext cx="339" cy="1211"/>
              </a:xfrm>
              <a:prstGeom prst="rect">
                <a:avLst/>
              </a:prstGeom>
              <a:solidFill>
                <a:srgbClr val="D9D9D9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sp>
            <p:nvSpPr>
              <p:cNvPr id="1132" name="Freeform 108"/>
              <p:cNvSpPr>
                <a:spLocks noEditPoints="1"/>
              </p:cNvSpPr>
              <p:nvPr/>
            </p:nvSpPr>
            <p:spPr bwMode="auto">
              <a:xfrm>
                <a:off x="171" y="1905"/>
                <a:ext cx="346" cy="1220"/>
              </a:xfrm>
              <a:custGeom>
                <a:avLst/>
                <a:gdLst/>
                <a:ahLst/>
                <a:cxnLst>
                  <a:cxn ang="0">
                    <a:pos x="0" y="48"/>
                  </a:cxn>
                  <a:cxn ang="0">
                    <a:pos x="48" y="0"/>
                  </a:cxn>
                  <a:cxn ang="0">
                    <a:pos x="5296" y="0"/>
                  </a:cxn>
                  <a:cxn ang="0">
                    <a:pos x="5344" y="48"/>
                  </a:cxn>
                  <a:cxn ang="0">
                    <a:pos x="5344" y="13072"/>
                  </a:cxn>
                  <a:cxn ang="0">
                    <a:pos x="5296" y="13120"/>
                  </a:cxn>
                  <a:cxn ang="0">
                    <a:pos x="48" y="13120"/>
                  </a:cxn>
                  <a:cxn ang="0">
                    <a:pos x="0" y="13072"/>
                  </a:cxn>
                  <a:cxn ang="0">
                    <a:pos x="0" y="48"/>
                  </a:cxn>
                  <a:cxn ang="0">
                    <a:pos x="96" y="13072"/>
                  </a:cxn>
                  <a:cxn ang="0">
                    <a:pos x="48" y="13024"/>
                  </a:cxn>
                  <a:cxn ang="0">
                    <a:pos x="5296" y="13024"/>
                  </a:cxn>
                  <a:cxn ang="0">
                    <a:pos x="5248" y="13072"/>
                  </a:cxn>
                  <a:cxn ang="0">
                    <a:pos x="5248" y="48"/>
                  </a:cxn>
                  <a:cxn ang="0">
                    <a:pos x="5296" y="96"/>
                  </a:cxn>
                  <a:cxn ang="0">
                    <a:pos x="48" y="96"/>
                  </a:cxn>
                  <a:cxn ang="0">
                    <a:pos x="96" y="48"/>
                  </a:cxn>
                  <a:cxn ang="0">
                    <a:pos x="96" y="13072"/>
                  </a:cxn>
                </a:cxnLst>
                <a:rect l="0" t="0" r="r" b="b"/>
                <a:pathLst>
                  <a:path w="5344" h="13120">
                    <a:moveTo>
                      <a:pt x="0" y="48"/>
                    </a:moveTo>
                    <a:cubicBezTo>
                      <a:pt x="0" y="22"/>
                      <a:pt x="22" y="0"/>
                      <a:pt x="48" y="0"/>
                    </a:cubicBezTo>
                    <a:lnTo>
                      <a:pt x="5296" y="0"/>
                    </a:lnTo>
                    <a:cubicBezTo>
                      <a:pt x="5323" y="0"/>
                      <a:pt x="5344" y="22"/>
                      <a:pt x="5344" y="48"/>
                    </a:cubicBezTo>
                    <a:lnTo>
                      <a:pt x="5344" y="13072"/>
                    </a:lnTo>
                    <a:cubicBezTo>
                      <a:pt x="5344" y="13099"/>
                      <a:pt x="5323" y="13120"/>
                      <a:pt x="5296" y="13120"/>
                    </a:cubicBezTo>
                    <a:lnTo>
                      <a:pt x="48" y="13120"/>
                    </a:lnTo>
                    <a:cubicBezTo>
                      <a:pt x="22" y="13120"/>
                      <a:pt x="0" y="13099"/>
                      <a:pt x="0" y="13072"/>
                    </a:cubicBezTo>
                    <a:lnTo>
                      <a:pt x="0" y="48"/>
                    </a:lnTo>
                    <a:close/>
                    <a:moveTo>
                      <a:pt x="96" y="13072"/>
                    </a:moveTo>
                    <a:lnTo>
                      <a:pt x="48" y="13024"/>
                    </a:lnTo>
                    <a:lnTo>
                      <a:pt x="5296" y="13024"/>
                    </a:lnTo>
                    <a:lnTo>
                      <a:pt x="5248" y="13072"/>
                    </a:lnTo>
                    <a:lnTo>
                      <a:pt x="5248" y="48"/>
                    </a:lnTo>
                    <a:lnTo>
                      <a:pt x="5296" y="96"/>
                    </a:lnTo>
                    <a:lnTo>
                      <a:pt x="48" y="96"/>
                    </a:lnTo>
                    <a:lnTo>
                      <a:pt x="96" y="48"/>
                    </a:lnTo>
                    <a:lnTo>
                      <a:pt x="96" y="13072"/>
                    </a:lnTo>
                    <a:close/>
                  </a:path>
                </a:pathLst>
              </a:custGeom>
              <a:solidFill>
                <a:srgbClr val="9BBB59"/>
              </a:solidFill>
              <a:ln w="0" cap="flat">
                <a:solidFill>
                  <a:srgbClr val="9BBB5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pic>
            <p:nvPicPr>
              <p:cNvPr id="1134" name="Picture 110"/>
              <p:cNvPicPr>
                <a:picLocks noChangeAspect="1" noChangeArrowheads="1"/>
              </p:cNvPicPr>
              <p:nvPr/>
            </p:nvPicPr>
            <p:blipFill>
              <a:blip r:embed="rId7" cstate="print"/>
              <a:srcRect/>
              <a:stretch>
                <a:fillRect/>
              </a:stretch>
            </p:blipFill>
            <p:spPr bwMode="auto">
              <a:xfrm>
                <a:off x="981" y="1896"/>
                <a:ext cx="3654" cy="8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135" name="Picture 111"/>
              <p:cNvPicPr>
                <a:picLocks noChangeAspect="1" noChangeArrowheads="1"/>
              </p:cNvPicPr>
              <p:nvPr/>
            </p:nvPicPr>
            <p:blipFill>
              <a:blip r:embed="rId8" cstate="print"/>
              <a:srcRect/>
              <a:stretch>
                <a:fillRect/>
              </a:stretch>
            </p:blipFill>
            <p:spPr bwMode="auto">
              <a:xfrm>
                <a:off x="981" y="1896"/>
                <a:ext cx="3654" cy="8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136" name="Rectangle 112"/>
              <p:cNvSpPr>
                <a:spLocks noChangeArrowheads="1"/>
              </p:cNvSpPr>
              <p:nvPr/>
            </p:nvSpPr>
            <p:spPr bwMode="auto">
              <a:xfrm>
                <a:off x="174" y="659"/>
                <a:ext cx="339" cy="1250"/>
              </a:xfrm>
              <a:prstGeom prst="rect">
                <a:avLst/>
              </a:prstGeom>
              <a:solidFill>
                <a:srgbClr val="F2F2F2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sp>
            <p:nvSpPr>
              <p:cNvPr id="1137" name="Freeform 113"/>
              <p:cNvSpPr>
                <a:spLocks noEditPoints="1"/>
              </p:cNvSpPr>
              <p:nvPr/>
            </p:nvSpPr>
            <p:spPr bwMode="auto">
              <a:xfrm>
                <a:off x="171" y="654"/>
                <a:ext cx="346" cy="1259"/>
              </a:xfrm>
              <a:custGeom>
                <a:avLst/>
                <a:gdLst/>
                <a:ahLst/>
                <a:cxnLst>
                  <a:cxn ang="0">
                    <a:pos x="0" y="48"/>
                  </a:cxn>
                  <a:cxn ang="0">
                    <a:pos x="48" y="0"/>
                  </a:cxn>
                  <a:cxn ang="0">
                    <a:pos x="5296" y="0"/>
                  </a:cxn>
                  <a:cxn ang="0">
                    <a:pos x="5344" y="48"/>
                  </a:cxn>
                  <a:cxn ang="0">
                    <a:pos x="5344" y="13488"/>
                  </a:cxn>
                  <a:cxn ang="0">
                    <a:pos x="5296" y="13536"/>
                  </a:cxn>
                  <a:cxn ang="0">
                    <a:pos x="48" y="13536"/>
                  </a:cxn>
                  <a:cxn ang="0">
                    <a:pos x="0" y="13488"/>
                  </a:cxn>
                  <a:cxn ang="0">
                    <a:pos x="0" y="48"/>
                  </a:cxn>
                  <a:cxn ang="0">
                    <a:pos x="96" y="13488"/>
                  </a:cxn>
                  <a:cxn ang="0">
                    <a:pos x="48" y="13440"/>
                  </a:cxn>
                  <a:cxn ang="0">
                    <a:pos x="5296" y="13440"/>
                  </a:cxn>
                  <a:cxn ang="0">
                    <a:pos x="5248" y="13488"/>
                  </a:cxn>
                  <a:cxn ang="0">
                    <a:pos x="5248" y="48"/>
                  </a:cxn>
                  <a:cxn ang="0">
                    <a:pos x="5296" y="96"/>
                  </a:cxn>
                  <a:cxn ang="0">
                    <a:pos x="48" y="96"/>
                  </a:cxn>
                  <a:cxn ang="0">
                    <a:pos x="96" y="48"/>
                  </a:cxn>
                  <a:cxn ang="0">
                    <a:pos x="96" y="13488"/>
                  </a:cxn>
                </a:cxnLst>
                <a:rect l="0" t="0" r="r" b="b"/>
                <a:pathLst>
                  <a:path w="5344" h="13536">
                    <a:moveTo>
                      <a:pt x="0" y="48"/>
                    </a:moveTo>
                    <a:cubicBezTo>
                      <a:pt x="0" y="22"/>
                      <a:pt x="22" y="0"/>
                      <a:pt x="48" y="0"/>
                    </a:cubicBezTo>
                    <a:lnTo>
                      <a:pt x="5296" y="0"/>
                    </a:lnTo>
                    <a:cubicBezTo>
                      <a:pt x="5323" y="0"/>
                      <a:pt x="5344" y="22"/>
                      <a:pt x="5344" y="48"/>
                    </a:cubicBezTo>
                    <a:lnTo>
                      <a:pt x="5344" y="13488"/>
                    </a:lnTo>
                    <a:cubicBezTo>
                      <a:pt x="5344" y="13515"/>
                      <a:pt x="5323" y="13536"/>
                      <a:pt x="5296" y="13536"/>
                    </a:cubicBezTo>
                    <a:lnTo>
                      <a:pt x="48" y="13536"/>
                    </a:lnTo>
                    <a:cubicBezTo>
                      <a:pt x="22" y="13536"/>
                      <a:pt x="0" y="13515"/>
                      <a:pt x="0" y="13488"/>
                    </a:cubicBezTo>
                    <a:lnTo>
                      <a:pt x="0" y="48"/>
                    </a:lnTo>
                    <a:close/>
                    <a:moveTo>
                      <a:pt x="96" y="13488"/>
                    </a:moveTo>
                    <a:lnTo>
                      <a:pt x="48" y="13440"/>
                    </a:lnTo>
                    <a:lnTo>
                      <a:pt x="5296" y="13440"/>
                    </a:lnTo>
                    <a:lnTo>
                      <a:pt x="5248" y="13488"/>
                    </a:lnTo>
                    <a:lnTo>
                      <a:pt x="5248" y="48"/>
                    </a:lnTo>
                    <a:lnTo>
                      <a:pt x="5296" y="96"/>
                    </a:lnTo>
                    <a:lnTo>
                      <a:pt x="48" y="96"/>
                    </a:lnTo>
                    <a:lnTo>
                      <a:pt x="96" y="48"/>
                    </a:lnTo>
                    <a:lnTo>
                      <a:pt x="96" y="13488"/>
                    </a:lnTo>
                    <a:close/>
                  </a:path>
                </a:pathLst>
              </a:custGeom>
              <a:solidFill>
                <a:srgbClr val="9BBB59"/>
              </a:solidFill>
              <a:ln w="0" cap="flat">
                <a:solidFill>
                  <a:srgbClr val="9BBB59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sp>
            <p:nvSpPr>
              <p:cNvPr id="1138" name="Freeform 114"/>
              <p:cNvSpPr>
                <a:spLocks noEditPoints="1"/>
              </p:cNvSpPr>
              <p:nvPr/>
            </p:nvSpPr>
            <p:spPr bwMode="auto">
              <a:xfrm>
                <a:off x="2608" y="3703"/>
                <a:ext cx="572" cy="181"/>
              </a:xfrm>
              <a:custGeom>
                <a:avLst/>
                <a:gdLst/>
                <a:ahLst/>
                <a:cxnLst>
                  <a:cxn ang="0">
                    <a:pos x="0" y="276"/>
                  </a:cxn>
                  <a:cxn ang="0">
                    <a:pos x="5297" y="276"/>
                  </a:cxn>
                  <a:cxn ang="0">
                    <a:pos x="5297" y="428"/>
                  </a:cxn>
                  <a:cxn ang="0">
                    <a:pos x="0" y="428"/>
                  </a:cxn>
                  <a:cxn ang="0">
                    <a:pos x="0" y="276"/>
                  </a:cxn>
                  <a:cxn ang="0">
                    <a:pos x="4879" y="21"/>
                  </a:cxn>
                  <a:cxn ang="0">
                    <a:pos x="5448" y="352"/>
                  </a:cxn>
                  <a:cxn ang="0">
                    <a:pos x="4879" y="684"/>
                  </a:cxn>
                  <a:cxn ang="0">
                    <a:pos x="4775" y="657"/>
                  </a:cxn>
                  <a:cxn ang="0">
                    <a:pos x="4803" y="553"/>
                  </a:cxn>
                  <a:cxn ang="0">
                    <a:pos x="5259" y="287"/>
                  </a:cxn>
                  <a:cxn ang="0">
                    <a:pos x="5259" y="418"/>
                  </a:cxn>
                  <a:cxn ang="0">
                    <a:pos x="4803" y="152"/>
                  </a:cxn>
                  <a:cxn ang="0">
                    <a:pos x="4775" y="48"/>
                  </a:cxn>
                  <a:cxn ang="0">
                    <a:pos x="4879" y="21"/>
                  </a:cxn>
                </a:cxnLst>
                <a:rect l="0" t="0" r="r" b="b"/>
                <a:pathLst>
                  <a:path w="5448" h="705">
                    <a:moveTo>
                      <a:pt x="0" y="276"/>
                    </a:moveTo>
                    <a:lnTo>
                      <a:pt x="5297" y="276"/>
                    </a:lnTo>
                    <a:lnTo>
                      <a:pt x="5297" y="428"/>
                    </a:lnTo>
                    <a:lnTo>
                      <a:pt x="0" y="428"/>
                    </a:lnTo>
                    <a:lnTo>
                      <a:pt x="0" y="276"/>
                    </a:lnTo>
                    <a:close/>
                    <a:moveTo>
                      <a:pt x="4879" y="21"/>
                    </a:moveTo>
                    <a:lnTo>
                      <a:pt x="5448" y="352"/>
                    </a:lnTo>
                    <a:lnTo>
                      <a:pt x="4879" y="684"/>
                    </a:lnTo>
                    <a:cubicBezTo>
                      <a:pt x="4843" y="705"/>
                      <a:pt x="4796" y="693"/>
                      <a:pt x="4775" y="657"/>
                    </a:cubicBezTo>
                    <a:cubicBezTo>
                      <a:pt x="4754" y="621"/>
                      <a:pt x="4766" y="574"/>
                      <a:pt x="4803" y="553"/>
                    </a:cubicBezTo>
                    <a:lnTo>
                      <a:pt x="5259" y="287"/>
                    </a:lnTo>
                    <a:lnTo>
                      <a:pt x="5259" y="418"/>
                    </a:lnTo>
                    <a:lnTo>
                      <a:pt x="4803" y="152"/>
                    </a:lnTo>
                    <a:cubicBezTo>
                      <a:pt x="4766" y="131"/>
                      <a:pt x="4754" y="84"/>
                      <a:pt x="4775" y="48"/>
                    </a:cubicBezTo>
                    <a:cubicBezTo>
                      <a:pt x="4796" y="12"/>
                      <a:pt x="4843" y="0"/>
                      <a:pt x="4879" y="21"/>
                    </a:cubicBezTo>
                    <a:close/>
                  </a:path>
                </a:pathLst>
              </a:custGeom>
              <a:solidFill>
                <a:srgbClr val="4F81BD"/>
              </a:solidFill>
              <a:ln w="0" cap="flat">
                <a:solidFill>
                  <a:srgbClr val="4F81BD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sp>
            <p:nvSpPr>
              <p:cNvPr id="1139" name="Freeform 115"/>
              <p:cNvSpPr>
                <a:spLocks noEditPoints="1"/>
              </p:cNvSpPr>
              <p:nvPr/>
            </p:nvSpPr>
            <p:spPr bwMode="auto">
              <a:xfrm rot="10800000">
                <a:off x="2434" y="2383"/>
                <a:ext cx="705" cy="131"/>
              </a:xfrm>
              <a:custGeom>
                <a:avLst/>
                <a:gdLst/>
                <a:ahLst/>
                <a:cxnLst>
                  <a:cxn ang="0">
                    <a:pos x="0" y="276"/>
                  </a:cxn>
                  <a:cxn ang="0">
                    <a:pos x="5297" y="276"/>
                  </a:cxn>
                  <a:cxn ang="0">
                    <a:pos x="5297" y="428"/>
                  </a:cxn>
                  <a:cxn ang="0">
                    <a:pos x="0" y="428"/>
                  </a:cxn>
                  <a:cxn ang="0">
                    <a:pos x="0" y="276"/>
                  </a:cxn>
                  <a:cxn ang="0">
                    <a:pos x="4879" y="21"/>
                  </a:cxn>
                  <a:cxn ang="0">
                    <a:pos x="5448" y="352"/>
                  </a:cxn>
                  <a:cxn ang="0">
                    <a:pos x="4879" y="684"/>
                  </a:cxn>
                  <a:cxn ang="0">
                    <a:pos x="4775" y="657"/>
                  </a:cxn>
                  <a:cxn ang="0">
                    <a:pos x="4803" y="553"/>
                  </a:cxn>
                  <a:cxn ang="0">
                    <a:pos x="4803" y="553"/>
                  </a:cxn>
                  <a:cxn ang="0">
                    <a:pos x="5259" y="287"/>
                  </a:cxn>
                  <a:cxn ang="0">
                    <a:pos x="5259" y="418"/>
                  </a:cxn>
                  <a:cxn ang="0">
                    <a:pos x="4803" y="152"/>
                  </a:cxn>
                  <a:cxn ang="0">
                    <a:pos x="4775" y="48"/>
                  </a:cxn>
                  <a:cxn ang="0">
                    <a:pos x="4879" y="21"/>
                  </a:cxn>
                </a:cxnLst>
                <a:rect l="0" t="0" r="r" b="b"/>
                <a:pathLst>
                  <a:path w="5448" h="705">
                    <a:moveTo>
                      <a:pt x="0" y="276"/>
                    </a:moveTo>
                    <a:lnTo>
                      <a:pt x="5297" y="276"/>
                    </a:lnTo>
                    <a:lnTo>
                      <a:pt x="5297" y="428"/>
                    </a:lnTo>
                    <a:lnTo>
                      <a:pt x="0" y="428"/>
                    </a:lnTo>
                    <a:lnTo>
                      <a:pt x="0" y="276"/>
                    </a:lnTo>
                    <a:close/>
                    <a:moveTo>
                      <a:pt x="4879" y="21"/>
                    </a:moveTo>
                    <a:lnTo>
                      <a:pt x="5448" y="352"/>
                    </a:lnTo>
                    <a:lnTo>
                      <a:pt x="4879" y="684"/>
                    </a:lnTo>
                    <a:cubicBezTo>
                      <a:pt x="4843" y="705"/>
                      <a:pt x="4796" y="693"/>
                      <a:pt x="4775" y="657"/>
                    </a:cubicBezTo>
                    <a:cubicBezTo>
                      <a:pt x="4754" y="621"/>
                      <a:pt x="4766" y="574"/>
                      <a:pt x="4803" y="553"/>
                    </a:cubicBezTo>
                    <a:lnTo>
                      <a:pt x="4803" y="553"/>
                    </a:lnTo>
                    <a:lnTo>
                      <a:pt x="5259" y="287"/>
                    </a:lnTo>
                    <a:lnTo>
                      <a:pt x="5259" y="418"/>
                    </a:lnTo>
                    <a:lnTo>
                      <a:pt x="4803" y="152"/>
                    </a:lnTo>
                    <a:cubicBezTo>
                      <a:pt x="4766" y="131"/>
                      <a:pt x="4754" y="84"/>
                      <a:pt x="4775" y="48"/>
                    </a:cubicBezTo>
                    <a:cubicBezTo>
                      <a:pt x="4796" y="12"/>
                      <a:pt x="4843" y="0"/>
                      <a:pt x="4879" y="21"/>
                    </a:cubicBezTo>
                    <a:close/>
                  </a:path>
                </a:pathLst>
              </a:custGeom>
              <a:solidFill>
                <a:srgbClr val="4F81BD"/>
              </a:solidFill>
              <a:ln w="0" cap="flat">
                <a:solidFill>
                  <a:srgbClr val="4F81BD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pic>
            <p:nvPicPr>
              <p:cNvPr id="1141" name="Picture 117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529" y="3279"/>
                <a:ext cx="695" cy="76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142" name="Picture 118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371" y="3300"/>
                <a:ext cx="695" cy="76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143" name="Picture 119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4727" y="3268"/>
                <a:ext cx="669" cy="75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144" name="Picture 120"/>
              <p:cNvPicPr>
                <a:picLocks noChangeAspect="1" noChangeArrowheads="1"/>
              </p:cNvPicPr>
              <p:nvPr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4727" y="3310"/>
                <a:ext cx="669" cy="75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145" name="Picture 121"/>
              <p:cNvPicPr>
                <a:picLocks noChangeAspect="1" noChangeArrowheads="1"/>
              </p:cNvPicPr>
              <p:nvPr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2525" y="618"/>
                <a:ext cx="622" cy="76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146" name="Picture 122"/>
              <p:cNvPicPr>
                <a:picLocks noChangeAspect="1" noChangeArrowheads="1"/>
              </p:cNvPicPr>
              <p:nvPr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2525" y="675"/>
                <a:ext cx="763" cy="763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1147" name="Rectangle 123">
                <a:hlinkClick r:id="rId15" action="ppaction://hlinksldjump"/>
              </p:cNvPr>
              <p:cNvSpPr>
                <a:spLocks noChangeArrowheads="1"/>
              </p:cNvSpPr>
              <p:nvPr/>
            </p:nvSpPr>
            <p:spPr bwMode="auto">
              <a:xfrm>
                <a:off x="4287" y="3467"/>
                <a:ext cx="428" cy="586"/>
              </a:xfrm>
              <a:prstGeom prst="rect">
                <a:avLst/>
              </a:prstGeom>
              <a:solidFill>
                <a:srgbClr val="FDEADA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sp>
            <p:nvSpPr>
              <p:cNvPr id="1148" name="Freeform 124"/>
              <p:cNvSpPr>
                <a:spLocks noEditPoints="1"/>
              </p:cNvSpPr>
              <p:nvPr/>
            </p:nvSpPr>
            <p:spPr bwMode="auto">
              <a:xfrm>
                <a:off x="4282" y="3460"/>
                <a:ext cx="438" cy="601"/>
              </a:xfrm>
              <a:custGeom>
                <a:avLst/>
                <a:gdLst/>
                <a:ahLst/>
                <a:cxnLst>
                  <a:cxn ang="0">
                    <a:pos x="0" y="20"/>
                  </a:cxn>
                  <a:cxn ang="0">
                    <a:pos x="20" y="0"/>
                  </a:cxn>
                  <a:cxn ang="0">
                    <a:pos x="1676" y="0"/>
                  </a:cxn>
                  <a:cxn ang="0">
                    <a:pos x="1696" y="20"/>
                  </a:cxn>
                  <a:cxn ang="0">
                    <a:pos x="1696" y="1596"/>
                  </a:cxn>
                  <a:cxn ang="0">
                    <a:pos x="1676" y="1616"/>
                  </a:cxn>
                  <a:cxn ang="0">
                    <a:pos x="20" y="1616"/>
                  </a:cxn>
                  <a:cxn ang="0">
                    <a:pos x="0" y="1596"/>
                  </a:cxn>
                  <a:cxn ang="0">
                    <a:pos x="0" y="20"/>
                  </a:cxn>
                  <a:cxn ang="0">
                    <a:pos x="40" y="1596"/>
                  </a:cxn>
                  <a:cxn ang="0">
                    <a:pos x="20" y="1576"/>
                  </a:cxn>
                  <a:cxn ang="0">
                    <a:pos x="1676" y="1576"/>
                  </a:cxn>
                  <a:cxn ang="0">
                    <a:pos x="1656" y="1596"/>
                  </a:cxn>
                  <a:cxn ang="0">
                    <a:pos x="1656" y="20"/>
                  </a:cxn>
                  <a:cxn ang="0">
                    <a:pos x="1676" y="40"/>
                  </a:cxn>
                  <a:cxn ang="0">
                    <a:pos x="20" y="40"/>
                  </a:cxn>
                  <a:cxn ang="0">
                    <a:pos x="40" y="20"/>
                  </a:cxn>
                  <a:cxn ang="0">
                    <a:pos x="40" y="1596"/>
                  </a:cxn>
                </a:cxnLst>
                <a:rect l="0" t="0" r="r" b="b"/>
                <a:pathLst>
                  <a:path w="1696" h="1616">
                    <a:moveTo>
                      <a:pt x="0" y="20"/>
                    </a:moveTo>
                    <a:cubicBezTo>
                      <a:pt x="0" y="9"/>
                      <a:pt x="9" y="0"/>
                      <a:pt x="20" y="0"/>
                    </a:cubicBezTo>
                    <a:lnTo>
                      <a:pt x="1676" y="0"/>
                    </a:lnTo>
                    <a:cubicBezTo>
                      <a:pt x="1688" y="0"/>
                      <a:pt x="1696" y="9"/>
                      <a:pt x="1696" y="20"/>
                    </a:cubicBezTo>
                    <a:lnTo>
                      <a:pt x="1696" y="1596"/>
                    </a:lnTo>
                    <a:cubicBezTo>
                      <a:pt x="1696" y="1608"/>
                      <a:pt x="1688" y="1616"/>
                      <a:pt x="1676" y="1616"/>
                    </a:cubicBezTo>
                    <a:lnTo>
                      <a:pt x="20" y="1616"/>
                    </a:lnTo>
                    <a:cubicBezTo>
                      <a:pt x="9" y="1616"/>
                      <a:pt x="0" y="1608"/>
                      <a:pt x="0" y="1596"/>
                    </a:cubicBezTo>
                    <a:lnTo>
                      <a:pt x="0" y="20"/>
                    </a:lnTo>
                    <a:close/>
                    <a:moveTo>
                      <a:pt x="40" y="1596"/>
                    </a:moveTo>
                    <a:lnTo>
                      <a:pt x="20" y="1576"/>
                    </a:lnTo>
                    <a:lnTo>
                      <a:pt x="1676" y="1576"/>
                    </a:lnTo>
                    <a:lnTo>
                      <a:pt x="1656" y="1596"/>
                    </a:lnTo>
                    <a:lnTo>
                      <a:pt x="1656" y="20"/>
                    </a:lnTo>
                    <a:lnTo>
                      <a:pt x="1676" y="40"/>
                    </a:lnTo>
                    <a:lnTo>
                      <a:pt x="20" y="40"/>
                    </a:lnTo>
                    <a:lnTo>
                      <a:pt x="40" y="20"/>
                    </a:lnTo>
                    <a:lnTo>
                      <a:pt x="40" y="1596"/>
                    </a:lnTo>
                    <a:close/>
                  </a:path>
                </a:pathLst>
              </a:custGeom>
              <a:solidFill>
                <a:srgbClr val="F79646"/>
              </a:solidFill>
              <a:ln w="0" cap="flat">
                <a:solidFill>
                  <a:srgbClr val="F79646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sp>
            <p:nvSpPr>
              <p:cNvPr id="1150" name="Rectangle 126">
                <a:hlinkClick r:id="rId15" action="ppaction://hlinksldjump"/>
              </p:cNvPr>
              <p:cNvSpPr>
                <a:spLocks noChangeArrowheads="1"/>
              </p:cNvSpPr>
              <p:nvPr/>
            </p:nvSpPr>
            <p:spPr bwMode="auto">
              <a:xfrm>
                <a:off x="4344" y="3521"/>
                <a:ext cx="350" cy="49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ES" sz="1700" b="1" i="1" u="none" strike="noStrike" cap="none" normalizeH="0" baseline="0" dirty="0" smtClean="0">
                    <a:ln>
                      <a:noFill/>
                    </a:ln>
                    <a:solidFill>
                      <a:srgbClr val="000099"/>
                    </a:solidFill>
                    <a:effectLst/>
                    <a:latin typeface="Calibri" pitchFamily="34" charset="0"/>
                    <a:cs typeface="Arial" pitchFamily="34" charset="0"/>
                  </a:rPr>
                  <a:t>Banco</a:t>
                </a:r>
              </a:p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lang="es-ES" sz="1700" i="1" dirty="0" smtClean="0">
                    <a:solidFill>
                      <a:srgbClr val="000099"/>
                    </a:solidFill>
                    <a:latin typeface="Calibri" pitchFamily="34" charset="0"/>
                    <a:cs typeface="Arial" pitchFamily="34" charset="0"/>
                  </a:rPr>
                  <a:t>d</a:t>
                </a:r>
                <a:r>
                  <a:rPr kumimoji="0" lang="es-ES" sz="1700" b="1" i="1" u="none" strike="noStrike" cap="none" normalizeH="0" baseline="0" dirty="0" smtClean="0">
                    <a:ln>
                      <a:noFill/>
                    </a:ln>
                    <a:solidFill>
                      <a:srgbClr val="000099"/>
                    </a:solidFill>
                    <a:effectLst/>
                    <a:latin typeface="Calibri" pitchFamily="34" charset="0"/>
                    <a:cs typeface="Arial" pitchFamily="34" charset="0"/>
                  </a:rPr>
                  <a:t>e</a:t>
                </a:r>
              </a:p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r>
                  <a:rPr kumimoji="0" lang="es-ES" sz="1700" b="1" i="1" u="none" strike="noStrike" cap="none" normalizeH="0" baseline="0" dirty="0" smtClean="0">
                    <a:ln>
                      <a:noFill/>
                    </a:ln>
                    <a:solidFill>
                      <a:srgbClr val="000099"/>
                    </a:solidFill>
                    <a:effectLst/>
                    <a:latin typeface="Calibri" pitchFamily="34" charset="0"/>
                    <a:cs typeface="Arial" pitchFamily="34" charset="0"/>
                  </a:rPr>
                  <a:t>pares</a:t>
                </a:r>
                <a:endParaRPr kumimoji="0" lang="es-ES" sz="1800" b="0" i="0" u="none" strike="noStrike" cap="none" normalizeH="0" baseline="0" dirty="0" smtClean="0">
                  <a:ln>
                    <a:noFill/>
                  </a:ln>
                  <a:solidFill>
                    <a:schemeClr val="tx1"/>
                  </a:solidFill>
                  <a:effectLst/>
                  <a:latin typeface="Arial" pitchFamily="34" charset="0"/>
                  <a:cs typeface="Arial" pitchFamily="34" charset="0"/>
                </a:endParaRPr>
              </a:p>
            </p:txBody>
          </p:sp>
        </p:grpSp>
        <p:sp>
          <p:nvSpPr>
            <p:cNvPr id="129" name="Freeform 124">
              <a:hlinkClick r:id="rId15" action="ppaction://hlinksldjump"/>
            </p:cNvPr>
            <p:cNvSpPr>
              <a:spLocks noEditPoints="1"/>
            </p:cNvSpPr>
            <p:nvPr/>
          </p:nvSpPr>
          <p:spPr bwMode="auto">
            <a:xfrm>
              <a:off x="1691680" y="5643264"/>
              <a:ext cx="695325" cy="954088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20" y="0"/>
                </a:cxn>
                <a:cxn ang="0">
                  <a:pos x="1676" y="0"/>
                </a:cxn>
                <a:cxn ang="0">
                  <a:pos x="1696" y="20"/>
                </a:cxn>
                <a:cxn ang="0">
                  <a:pos x="1696" y="1596"/>
                </a:cxn>
                <a:cxn ang="0">
                  <a:pos x="1676" y="1616"/>
                </a:cxn>
                <a:cxn ang="0">
                  <a:pos x="20" y="1616"/>
                </a:cxn>
                <a:cxn ang="0">
                  <a:pos x="0" y="1596"/>
                </a:cxn>
                <a:cxn ang="0">
                  <a:pos x="0" y="20"/>
                </a:cxn>
                <a:cxn ang="0">
                  <a:pos x="40" y="1596"/>
                </a:cxn>
                <a:cxn ang="0">
                  <a:pos x="20" y="1576"/>
                </a:cxn>
                <a:cxn ang="0">
                  <a:pos x="1676" y="1576"/>
                </a:cxn>
                <a:cxn ang="0">
                  <a:pos x="1656" y="1596"/>
                </a:cxn>
                <a:cxn ang="0">
                  <a:pos x="1656" y="20"/>
                </a:cxn>
                <a:cxn ang="0">
                  <a:pos x="1676" y="40"/>
                </a:cxn>
                <a:cxn ang="0">
                  <a:pos x="20" y="40"/>
                </a:cxn>
                <a:cxn ang="0">
                  <a:pos x="40" y="20"/>
                </a:cxn>
                <a:cxn ang="0">
                  <a:pos x="40" y="1596"/>
                </a:cxn>
              </a:cxnLst>
              <a:rect l="0" t="0" r="r" b="b"/>
              <a:pathLst>
                <a:path w="1696" h="1616">
                  <a:moveTo>
                    <a:pt x="0" y="20"/>
                  </a:moveTo>
                  <a:cubicBezTo>
                    <a:pt x="0" y="9"/>
                    <a:pt x="9" y="0"/>
                    <a:pt x="20" y="0"/>
                  </a:cubicBezTo>
                  <a:lnTo>
                    <a:pt x="1676" y="0"/>
                  </a:lnTo>
                  <a:cubicBezTo>
                    <a:pt x="1688" y="0"/>
                    <a:pt x="1696" y="9"/>
                    <a:pt x="1696" y="20"/>
                  </a:cubicBezTo>
                  <a:lnTo>
                    <a:pt x="1696" y="1596"/>
                  </a:lnTo>
                  <a:cubicBezTo>
                    <a:pt x="1696" y="1608"/>
                    <a:pt x="1688" y="1616"/>
                    <a:pt x="1676" y="1616"/>
                  </a:cubicBezTo>
                  <a:lnTo>
                    <a:pt x="20" y="1616"/>
                  </a:lnTo>
                  <a:cubicBezTo>
                    <a:pt x="9" y="1616"/>
                    <a:pt x="0" y="1608"/>
                    <a:pt x="0" y="1596"/>
                  </a:cubicBezTo>
                  <a:lnTo>
                    <a:pt x="0" y="20"/>
                  </a:lnTo>
                  <a:close/>
                  <a:moveTo>
                    <a:pt x="40" y="1596"/>
                  </a:moveTo>
                  <a:lnTo>
                    <a:pt x="20" y="1576"/>
                  </a:lnTo>
                  <a:lnTo>
                    <a:pt x="1676" y="1576"/>
                  </a:lnTo>
                  <a:lnTo>
                    <a:pt x="1656" y="1596"/>
                  </a:lnTo>
                  <a:lnTo>
                    <a:pt x="1656" y="20"/>
                  </a:lnTo>
                  <a:lnTo>
                    <a:pt x="1676" y="40"/>
                  </a:lnTo>
                  <a:lnTo>
                    <a:pt x="20" y="40"/>
                  </a:lnTo>
                  <a:lnTo>
                    <a:pt x="40" y="20"/>
                  </a:lnTo>
                  <a:lnTo>
                    <a:pt x="40" y="1596"/>
                  </a:lnTo>
                  <a:close/>
                </a:path>
              </a:pathLst>
            </a:custGeom>
            <a:solidFill>
              <a:srgbClr val="F79646"/>
            </a:solidFill>
            <a:ln w="0" cap="flat">
              <a:solidFill>
                <a:srgbClr val="F79646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130" name="Rectangle 126">
              <a:hlinkClick r:id="rId15" action="ppaction://hlinksldjump"/>
            </p:cNvPr>
            <p:cNvSpPr>
              <a:spLocks noChangeArrowheads="1"/>
            </p:cNvSpPr>
            <p:nvPr/>
          </p:nvSpPr>
          <p:spPr bwMode="auto">
            <a:xfrm>
              <a:off x="1763688" y="5740514"/>
              <a:ext cx="555793" cy="7848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ES" sz="1700" b="1" i="1" u="none" strike="noStrike" cap="none" normalizeH="0" baseline="0" dirty="0" smtClean="0">
                  <a:ln>
                    <a:noFill/>
                  </a:ln>
                  <a:solidFill>
                    <a:srgbClr val="000099"/>
                  </a:solidFill>
                  <a:effectLst/>
                  <a:latin typeface="Calibri" pitchFamily="34" charset="0"/>
                  <a:cs typeface="Arial" pitchFamily="34" charset="0"/>
                </a:rPr>
                <a:t>Banco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lang="es-ES" sz="1700" i="1" dirty="0" smtClean="0">
                  <a:solidFill>
                    <a:srgbClr val="000099"/>
                  </a:solidFill>
                  <a:latin typeface="Calibri" pitchFamily="34" charset="0"/>
                  <a:cs typeface="Arial" pitchFamily="34" charset="0"/>
                </a:rPr>
                <a:t>d</a:t>
              </a:r>
              <a:r>
                <a:rPr kumimoji="0" lang="es-ES" sz="1700" b="1" i="1" u="none" strike="noStrike" cap="none" normalizeH="0" baseline="0" dirty="0" smtClean="0">
                  <a:ln>
                    <a:noFill/>
                  </a:ln>
                  <a:solidFill>
                    <a:srgbClr val="000099"/>
                  </a:solidFill>
                  <a:effectLst/>
                  <a:latin typeface="Calibri" pitchFamily="34" charset="0"/>
                  <a:cs typeface="Arial" pitchFamily="34" charset="0"/>
                </a:rPr>
                <a:t>e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ES" sz="1700" b="1" i="1" u="none" strike="noStrike" cap="none" normalizeH="0" baseline="0" dirty="0" smtClean="0">
                  <a:ln>
                    <a:noFill/>
                  </a:ln>
                  <a:solidFill>
                    <a:srgbClr val="000099"/>
                  </a:solidFill>
                  <a:effectLst/>
                  <a:latin typeface="Calibri" pitchFamily="34" charset="0"/>
                  <a:cs typeface="Arial" pitchFamily="34" charset="0"/>
                </a:rPr>
                <a:t>pares</a:t>
              </a:r>
              <a:endParaRPr kumimoji="0" lang="es-E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31" name="Freeform 114"/>
            <p:cNvSpPr>
              <a:spLocks noEditPoints="1"/>
            </p:cNvSpPr>
            <p:nvPr/>
          </p:nvSpPr>
          <p:spPr bwMode="auto">
            <a:xfrm rot="16200000">
              <a:off x="5129326" y="5132324"/>
              <a:ext cx="973584" cy="216025"/>
            </a:xfrm>
            <a:custGeom>
              <a:avLst/>
              <a:gdLst/>
              <a:ahLst/>
              <a:cxnLst>
                <a:cxn ang="0">
                  <a:pos x="0" y="276"/>
                </a:cxn>
                <a:cxn ang="0">
                  <a:pos x="5297" y="276"/>
                </a:cxn>
                <a:cxn ang="0">
                  <a:pos x="5297" y="428"/>
                </a:cxn>
                <a:cxn ang="0">
                  <a:pos x="0" y="428"/>
                </a:cxn>
                <a:cxn ang="0">
                  <a:pos x="0" y="276"/>
                </a:cxn>
                <a:cxn ang="0">
                  <a:pos x="4879" y="21"/>
                </a:cxn>
                <a:cxn ang="0">
                  <a:pos x="5448" y="352"/>
                </a:cxn>
                <a:cxn ang="0">
                  <a:pos x="4879" y="684"/>
                </a:cxn>
                <a:cxn ang="0">
                  <a:pos x="4775" y="657"/>
                </a:cxn>
                <a:cxn ang="0">
                  <a:pos x="4803" y="553"/>
                </a:cxn>
                <a:cxn ang="0">
                  <a:pos x="5259" y="287"/>
                </a:cxn>
                <a:cxn ang="0">
                  <a:pos x="5259" y="418"/>
                </a:cxn>
                <a:cxn ang="0">
                  <a:pos x="4803" y="152"/>
                </a:cxn>
                <a:cxn ang="0">
                  <a:pos x="4775" y="48"/>
                </a:cxn>
                <a:cxn ang="0">
                  <a:pos x="4879" y="21"/>
                </a:cxn>
              </a:cxnLst>
              <a:rect l="0" t="0" r="r" b="b"/>
              <a:pathLst>
                <a:path w="5448" h="705">
                  <a:moveTo>
                    <a:pt x="0" y="276"/>
                  </a:moveTo>
                  <a:lnTo>
                    <a:pt x="5297" y="276"/>
                  </a:lnTo>
                  <a:lnTo>
                    <a:pt x="5297" y="428"/>
                  </a:lnTo>
                  <a:lnTo>
                    <a:pt x="0" y="428"/>
                  </a:lnTo>
                  <a:lnTo>
                    <a:pt x="0" y="276"/>
                  </a:lnTo>
                  <a:close/>
                  <a:moveTo>
                    <a:pt x="4879" y="21"/>
                  </a:moveTo>
                  <a:lnTo>
                    <a:pt x="5448" y="352"/>
                  </a:lnTo>
                  <a:lnTo>
                    <a:pt x="4879" y="684"/>
                  </a:lnTo>
                  <a:cubicBezTo>
                    <a:pt x="4843" y="705"/>
                    <a:pt x="4796" y="693"/>
                    <a:pt x="4775" y="657"/>
                  </a:cubicBezTo>
                  <a:cubicBezTo>
                    <a:pt x="4754" y="621"/>
                    <a:pt x="4766" y="574"/>
                    <a:pt x="4803" y="553"/>
                  </a:cubicBezTo>
                  <a:lnTo>
                    <a:pt x="5259" y="287"/>
                  </a:lnTo>
                  <a:lnTo>
                    <a:pt x="5259" y="418"/>
                  </a:lnTo>
                  <a:lnTo>
                    <a:pt x="4803" y="152"/>
                  </a:lnTo>
                  <a:cubicBezTo>
                    <a:pt x="4766" y="131"/>
                    <a:pt x="4754" y="84"/>
                    <a:pt x="4775" y="48"/>
                  </a:cubicBezTo>
                  <a:cubicBezTo>
                    <a:pt x="4796" y="12"/>
                    <a:pt x="4843" y="0"/>
                    <a:pt x="4879" y="21"/>
                  </a:cubicBezTo>
                  <a:close/>
                </a:path>
              </a:pathLst>
            </a:custGeom>
            <a:solidFill>
              <a:srgbClr val="4F81BD"/>
            </a:solidFill>
            <a:ln w="0" cap="flat">
              <a:solidFill>
                <a:srgbClr val="4F81B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/>
            </a:p>
          </p:txBody>
        </p:sp>
        <p:sp>
          <p:nvSpPr>
            <p:cNvPr id="132" name="Rectangle 106"/>
            <p:cNvSpPr>
              <a:spLocks noChangeArrowheads="1"/>
            </p:cNvSpPr>
            <p:nvPr/>
          </p:nvSpPr>
          <p:spPr bwMode="auto">
            <a:xfrm rot="16200000">
              <a:off x="-117045" y="3725557"/>
              <a:ext cx="962447" cy="3693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s-ES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Nivel </a:t>
              </a:r>
              <a:r>
                <a:rPr lang="es-ES" dirty="0" smtClean="0">
                  <a:solidFill>
                    <a:srgbClr val="000000"/>
                  </a:solidFill>
                  <a:latin typeface="Calibri" pitchFamily="34" charset="0"/>
                  <a:cs typeface="Arial" pitchFamily="34" charset="0"/>
                </a:rPr>
                <a:t>I</a:t>
              </a:r>
              <a:r>
                <a:rPr kumimoji="0" lang="es-ES" b="1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Calibri" pitchFamily="34" charset="0"/>
                  <a:cs typeface="Arial" pitchFamily="34" charset="0"/>
                </a:rPr>
                <a:t>I</a:t>
              </a:r>
              <a:endParaRPr kumimoji="0" lang="es-E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val="1766553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3 Tabla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301507788"/>
              </p:ext>
            </p:extLst>
          </p:nvPr>
        </p:nvGraphicFramePr>
        <p:xfrm>
          <a:off x="35496" y="1557114"/>
          <a:ext cx="2736304" cy="6480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36304"/>
              </a:tblGrid>
              <a:tr h="324036">
                <a:tc>
                  <a:txBody>
                    <a:bodyPr/>
                    <a:lstStyle/>
                    <a:p>
                      <a:pPr algn="ctr"/>
                      <a:r>
                        <a:rPr lang="es-CO" sz="1400" dirty="0" smtClean="0">
                          <a:solidFill>
                            <a:schemeClr val="tx1"/>
                          </a:solidFill>
                        </a:rPr>
                        <a:t>POLÍTICAS</a:t>
                      </a:r>
                      <a:endParaRPr lang="es-CO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C59EE2"/>
                    </a:solidFill>
                  </a:tcPr>
                </a:tc>
              </a:tr>
              <a:tr h="324036">
                <a:tc>
                  <a:txBody>
                    <a:bodyPr/>
                    <a:lstStyle/>
                    <a:p>
                      <a:pPr algn="ctr"/>
                      <a:r>
                        <a:rPr lang="es-CO" sz="1400" dirty="0" smtClean="0"/>
                        <a:t>Ministerio</a:t>
                      </a:r>
                      <a:r>
                        <a:rPr lang="es-CO" sz="1400" baseline="0" dirty="0" smtClean="0"/>
                        <a:t> de Educación Nacional</a:t>
                      </a:r>
                      <a:endParaRPr lang="es-CO" sz="1400" dirty="0"/>
                    </a:p>
                  </a:txBody>
                  <a:tcPr>
                    <a:solidFill>
                      <a:srgbClr val="E7D287"/>
                    </a:solidFill>
                  </a:tcPr>
                </a:tc>
              </a:tr>
            </a:tbl>
          </a:graphicData>
        </a:graphic>
      </p:graphicFrame>
      <p:sp>
        <p:nvSpPr>
          <p:cNvPr id="5" name="4 Flecha abajo"/>
          <p:cNvSpPr/>
          <p:nvPr/>
        </p:nvSpPr>
        <p:spPr>
          <a:xfrm>
            <a:off x="1115616" y="2205186"/>
            <a:ext cx="504056" cy="523935"/>
          </a:xfrm>
          <a:prstGeom prst="downArrow">
            <a:avLst/>
          </a:prstGeom>
          <a:solidFill>
            <a:srgbClr val="C59EE2"/>
          </a:solidFill>
          <a:ln>
            <a:solidFill>
              <a:schemeClr val="accent1"/>
            </a:solidFill>
          </a:ln>
        </p:spPr>
        <p:txBody>
          <a:bodyPr wrap="square" lIns="91440" tIns="45720" rIns="91440" bIns="45720" rtlCol="0" anchor="ctr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endParaRPr lang="es-CO" sz="2000" cap="all" dirty="0" smtClean="0">
              <a:ln w="0"/>
              <a:gradFill flip="none">
                <a:gsLst>
                  <a:gs pos="0">
                    <a:schemeClr val="accent1">
                      <a:tint val="75000"/>
                      <a:shade val="75000"/>
                      <a:satMod val="170000"/>
                    </a:schemeClr>
                  </a:gs>
                  <a:gs pos="49000">
                    <a:schemeClr val="accent1">
                      <a:tint val="88000"/>
                      <a:shade val="65000"/>
                      <a:satMod val="172000"/>
                    </a:schemeClr>
                  </a:gs>
                  <a:gs pos="50000">
                    <a:schemeClr val="accent1">
                      <a:shade val="65000"/>
                      <a:satMod val="130000"/>
                    </a:schemeClr>
                  </a:gs>
                  <a:gs pos="92000">
                    <a:schemeClr val="accent1">
                      <a:shade val="50000"/>
                      <a:satMod val="120000"/>
                    </a:schemeClr>
                  </a:gs>
                  <a:gs pos="100000">
                    <a:schemeClr val="accent1">
                      <a:shade val="48000"/>
                      <a:satMod val="120000"/>
                    </a:schemeClr>
                  </a:gs>
                </a:gsLst>
                <a:lin ang="5400000"/>
              </a:gradFill>
              <a:effectLst>
                <a:reflection blurRad="12700" stA="50000" endPos="50000" dist="5000" dir="5400000" sy="-100000" rotWithShape="0"/>
              </a:effectLst>
              <a:latin typeface="Arial Rounded MT Bold" pitchFamily="34" charset="0"/>
            </a:endParaRPr>
          </a:p>
        </p:txBody>
      </p:sp>
      <p:graphicFrame>
        <p:nvGraphicFramePr>
          <p:cNvPr id="7" name="6 Tabla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2730426782"/>
              </p:ext>
            </p:extLst>
          </p:nvPr>
        </p:nvGraphicFramePr>
        <p:xfrm>
          <a:off x="35496" y="2708920"/>
          <a:ext cx="2736304" cy="6480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36304"/>
              </a:tblGrid>
              <a:tr h="324036">
                <a:tc>
                  <a:txBody>
                    <a:bodyPr/>
                    <a:lstStyle/>
                    <a:p>
                      <a:pPr algn="ctr"/>
                      <a:r>
                        <a:rPr lang="es-CO" sz="1400" dirty="0" smtClean="0">
                          <a:solidFill>
                            <a:schemeClr val="tx1"/>
                          </a:solidFill>
                        </a:rPr>
                        <a:t>COORDINADOR</a:t>
                      </a:r>
                      <a:endParaRPr lang="es-CO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  <a:tr h="324036">
                <a:tc>
                  <a:txBody>
                    <a:bodyPr/>
                    <a:lstStyle/>
                    <a:p>
                      <a:pPr algn="ctr"/>
                      <a:r>
                        <a:rPr lang="es-CO" sz="1400" dirty="0" smtClean="0"/>
                        <a:t>Ministerio</a:t>
                      </a:r>
                      <a:r>
                        <a:rPr lang="es-CO" sz="1400" baseline="0" dirty="0" smtClean="0"/>
                        <a:t> de Educación Nacional</a:t>
                      </a:r>
                      <a:endParaRPr lang="es-CO" sz="1400" dirty="0"/>
                    </a:p>
                  </a:txBody>
                  <a:tcPr>
                    <a:solidFill>
                      <a:srgbClr val="E7D287"/>
                    </a:solidFill>
                  </a:tcPr>
                </a:tc>
              </a:tr>
            </a:tbl>
          </a:graphicData>
        </a:graphic>
      </p:graphicFrame>
      <p:sp>
        <p:nvSpPr>
          <p:cNvPr id="8" name="7 Flecha abajo"/>
          <p:cNvSpPr/>
          <p:nvPr/>
        </p:nvSpPr>
        <p:spPr>
          <a:xfrm>
            <a:off x="1115616" y="3356992"/>
            <a:ext cx="504056" cy="523935"/>
          </a:xfrm>
          <a:prstGeom prst="downArrow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accent1"/>
            </a:solidFill>
          </a:ln>
        </p:spPr>
        <p:txBody>
          <a:bodyPr wrap="square" lIns="91440" tIns="45720" rIns="91440" bIns="45720" rtlCol="0" anchor="ctr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endParaRPr lang="es-CO" sz="2000" cap="all" dirty="0" smtClean="0">
              <a:ln w="0"/>
              <a:gradFill flip="none">
                <a:gsLst>
                  <a:gs pos="0">
                    <a:schemeClr val="accent1">
                      <a:tint val="75000"/>
                      <a:shade val="75000"/>
                      <a:satMod val="170000"/>
                    </a:schemeClr>
                  </a:gs>
                  <a:gs pos="49000">
                    <a:schemeClr val="accent1">
                      <a:tint val="88000"/>
                      <a:shade val="65000"/>
                      <a:satMod val="172000"/>
                    </a:schemeClr>
                  </a:gs>
                  <a:gs pos="50000">
                    <a:schemeClr val="accent1">
                      <a:shade val="65000"/>
                      <a:satMod val="130000"/>
                    </a:schemeClr>
                  </a:gs>
                  <a:gs pos="92000">
                    <a:schemeClr val="accent1">
                      <a:shade val="50000"/>
                      <a:satMod val="120000"/>
                    </a:schemeClr>
                  </a:gs>
                  <a:gs pos="100000">
                    <a:schemeClr val="accent1">
                      <a:shade val="48000"/>
                      <a:satMod val="120000"/>
                    </a:schemeClr>
                  </a:gs>
                </a:gsLst>
                <a:lin ang="5400000"/>
              </a:gradFill>
              <a:effectLst>
                <a:reflection blurRad="12700" stA="50000" endPos="50000" dist="5000" dir="5400000" sy="-100000" rotWithShape="0"/>
              </a:effectLst>
              <a:latin typeface="Arial Rounded MT Bold" pitchFamily="34" charset="0"/>
            </a:endParaRPr>
          </a:p>
        </p:txBody>
      </p:sp>
      <p:graphicFrame>
        <p:nvGraphicFramePr>
          <p:cNvPr id="9" name="8 Tabla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95348506"/>
              </p:ext>
            </p:extLst>
          </p:nvPr>
        </p:nvGraphicFramePr>
        <p:xfrm>
          <a:off x="35496" y="3880927"/>
          <a:ext cx="2736304" cy="15737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68152"/>
                <a:gridCol w="1368152"/>
              </a:tblGrid>
              <a:tr h="324036">
                <a:tc gridSpan="2">
                  <a:txBody>
                    <a:bodyPr/>
                    <a:lstStyle/>
                    <a:p>
                      <a:pPr algn="ctr"/>
                      <a:r>
                        <a:rPr lang="es-CO" sz="1400" dirty="0" smtClean="0">
                          <a:solidFill>
                            <a:schemeClr val="tx1"/>
                          </a:solidFill>
                        </a:rPr>
                        <a:t>EJECUTOR PARES</a:t>
                      </a:r>
                      <a:endParaRPr lang="es-CO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</a:tr>
              <a:tr h="324036">
                <a:tc>
                  <a:txBody>
                    <a:bodyPr/>
                    <a:lstStyle/>
                    <a:p>
                      <a:pPr algn="ctr"/>
                      <a:r>
                        <a:rPr lang="es-CO" sz="1400" dirty="0" smtClean="0">
                          <a:solidFill>
                            <a:schemeClr val="tx1"/>
                          </a:solidFill>
                        </a:rPr>
                        <a:t>Licencias,</a:t>
                      </a:r>
                      <a:r>
                        <a:rPr lang="es-CO" sz="1400" baseline="0" dirty="0" smtClean="0">
                          <a:solidFill>
                            <a:schemeClr val="tx1"/>
                          </a:solidFill>
                        </a:rPr>
                        <a:t> programas</a:t>
                      </a:r>
                      <a:endParaRPr lang="es-CO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dirty="0" smtClean="0">
                          <a:solidFill>
                            <a:schemeClr val="tx1"/>
                          </a:solidFill>
                        </a:rPr>
                        <a:t>Certificación</a:t>
                      </a:r>
                      <a:r>
                        <a:rPr lang="es-CO" sz="1400" baseline="0" dirty="0" smtClean="0">
                          <a:solidFill>
                            <a:schemeClr val="tx1"/>
                          </a:solidFill>
                        </a:rPr>
                        <a:t> Alta Calidad</a:t>
                      </a:r>
                      <a:endParaRPr lang="es-CO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  <a:tr h="324036">
                <a:tc>
                  <a:txBody>
                    <a:bodyPr/>
                    <a:lstStyle/>
                    <a:p>
                      <a:pPr algn="ctr"/>
                      <a:r>
                        <a:rPr lang="es-CO" sz="1400" dirty="0" smtClean="0"/>
                        <a:t>Ministerio</a:t>
                      </a:r>
                      <a:r>
                        <a:rPr lang="es-CO" sz="1400" baseline="0" dirty="0" smtClean="0"/>
                        <a:t> de Educación Nacional</a:t>
                      </a:r>
                      <a:endParaRPr lang="es-CO" sz="1400" dirty="0"/>
                    </a:p>
                  </a:txBody>
                  <a:tcPr>
                    <a:solidFill>
                      <a:srgbClr val="E7D28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400" dirty="0" smtClean="0"/>
                        <a:t>Ministerio</a:t>
                      </a:r>
                      <a:r>
                        <a:rPr lang="es-CO" sz="1400" baseline="0" dirty="0" smtClean="0"/>
                        <a:t> de Educación Nacional</a:t>
                      </a:r>
                      <a:endParaRPr lang="es-CO" sz="1400" dirty="0"/>
                    </a:p>
                  </a:txBody>
                  <a:tcPr>
                    <a:solidFill>
                      <a:srgbClr val="E7D287"/>
                    </a:solidFill>
                  </a:tcPr>
                </a:tc>
              </a:tr>
            </a:tbl>
          </a:graphicData>
        </a:graphic>
      </p:graphicFrame>
      <p:sp>
        <p:nvSpPr>
          <p:cNvPr id="10" name="1 Título"/>
          <p:cNvSpPr txBox="1">
            <a:spLocks/>
          </p:cNvSpPr>
          <p:nvPr/>
        </p:nvSpPr>
        <p:spPr bwMode="auto">
          <a:xfrm>
            <a:off x="-844653" y="980728"/>
            <a:ext cx="4428357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defPPr>
              <a:defRPr lang="en-US"/>
            </a:defPPr>
            <a:lvl1pPr marL="342900" indent="-342900" algn="ctr" eaLnBrk="0" hangingPunct="0">
              <a:spcBef>
                <a:spcPct val="20000"/>
              </a:spcBef>
              <a:defRPr i="1" ker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s-ES" sz="2800" dirty="0" smtClean="0">
                <a:solidFill>
                  <a:srgbClr val="800000"/>
                </a:solidFill>
              </a:rPr>
              <a:t>Opción 1: MEN</a:t>
            </a:r>
            <a:endParaRPr lang="es-CO" sz="2800" dirty="0">
              <a:solidFill>
                <a:srgbClr val="800000"/>
              </a:solidFill>
            </a:endParaRPr>
          </a:p>
        </p:txBody>
      </p:sp>
      <p:sp>
        <p:nvSpPr>
          <p:cNvPr id="11" name="1 Título"/>
          <p:cNvSpPr txBox="1">
            <a:spLocks/>
          </p:cNvSpPr>
          <p:nvPr/>
        </p:nvSpPr>
        <p:spPr bwMode="auto">
          <a:xfrm>
            <a:off x="2231875" y="980728"/>
            <a:ext cx="4428357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defPPr>
              <a:defRPr lang="en-US"/>
            </a:defPPr>
            <a:lvl1pPr marL="342900" indent="-342900" algn="ctr" eaLnBrk="0" hangingPunct="0">
              <a:spcBef>
                <a:spcPct val="20000"/>
              </a:spcBef>
              <a:defRPr i="1" ker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s-ES" sz="2800" dirty="0" smtClean="0">
                <a:solidFill>
                  <a:srgbClr val="800000"/>
                </a:solidFill>
              </a:rPr>
              <a:t>Opción 2: ONAC</a:t>
            </a:r>
            <a:endParaRPr lang="es-CO" sz="2800" dirty="0">
              <a:solidFill>
                <a:srgbClr val="800000"/>
              </a:solidFill>
            </a:endParaRPr>
          </a:p>
        </p:txBody>
      </p:sp>
      <p:sp>
        <p:nvSpPr>
          <p:cNvPr id="17" name="1 Título"/>
          <p:cNvSpPr txBox="1">
            <a:spLocks/>
          </p:cNvSpPr>
          <p:nvPr/>
        </p:nvSpPr>
        <p:spPr bwMode="auto">
          <a:xfrm>
            <a:off x="5364088" y="980728"/>
            <a:ext cx="4428357" cy="360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defPPr>
              <a:defRPr lang="en-US"/>
            </a:defPPr>
            <a:lvl1pPr marL="342900" indent="-342900" algn="ctr" eaLnBrk="0" hangingPunct="0">
              <a:spcBef>
                <a:spcPct val="20000"/>
              </a:spcBef>
              <a:defRPr i="1" ker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r>
              <a:rPr lang="es-ES" sz="2800" dirty="0" smtClean="0">
                <a:solidFill>
                  <a:srgbClr val="800000"/>
                </a:solidFill>
              </a:rPr>
              <a:t>Opción 3: APOYO SEC</a:t>
            </a:r>
            <a:endParaRPr lang="es-CO" sz="2800" dirty="0">
              <a:solidFill>
                <a:srgbClr val="800000"/>
              </a:solidFill>
            </a:endParaRPr>
          </a:p>
        </p:txBody>
      </p:sp>
      <p:graphicFrame>
        <p:nvGraphicFramePr>
          <p:cNvPr id="28" name="27 Tabla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2709250466"/>
              </p:ext>
            </p:extLst>
          </p:nvPr>
        </p:nvGraphicFramePr>
        <p:xfrm>
          <a:off x="3059832" y="1557114"/>
          <a:ext cx="2736304" cy="6480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36304"/>
              </a:tblGrid>
              <a:tr h="324036">
                <a:tc>
                  <a:txBody>
                    <a:bodyPr/>
                    <a:lstStyle/>
                    <a:p>
                      <a:pPr algn="ctr"/>
                      <a:r>
                        <a:rPr lang="es-CO" sz="1400" dirty="0" smtClean="0">
                          <a:solidFill>
                            <a:schemeClr val="tx1"/>
                          </a:solidFill>
                        </a:rPr>
                        <a:t>POLÍTICAS</a:t>
                      </a:r>
                      <a:endParaRPr lang="es-CO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C59EE2"/>
                    </a:solidFill>
                  </a:tcPr>
                </a:tc>
              </a:tr>
              <a:tr h="324036">
                <a:tc>
                  <a:txBody>
                    <a:bodyPr/>
                    <a:lstStyle/>
                    <a:p>
                      <a:pPr algn="ctr"/>
                      <a:r>
                        <a:rPr lang="es-CO" sz="1400" dirty="0" smtClean="0"/>
                        <a:t>Ministerio</a:t>
                      </a:r>
                      <a:r>
                        <a:rPr lang="es-CO" sz="1400" baseline="0" dirty="0" smtClean="0"/>
                        <a:t> de Educación Nacional</a:t>
                      </a:r>
                      <a:endParaRPr lang="es-CO" sz="1400" dirty="0"/>
                    </a:p>
                  </a:txBody>
                  <a:tcPr>
                    <a:solidFill>
                      <a:srgbClr val="E7D287"/>
                    </a:solidFill>
                  </a:tcPr>
                </a:tc>
              </a:tr>
            </a:tbl>
          </a:graphicData>
        </a:graphic>
      </p:graphicFrame>
      <p:sp>
        <p:nvSpPr>
          <p:cNvPr id="29" name="28 Flecha abajo"/>
          <p:cNvSpPr/>
          <p:nvPr/>
        </p:nvSpPr>
        <p:spPr>
          <a:xfrm>
            <a:off x="4139952" y="2205186"/>
            <a:ext cx="504056" cy="523935"/>
          </a:xfrm>
          <a:prstGeom prst="downArrow">
            <a:avLst/>
          </a:prstGeom>
          <a:solidFill>
            <a:srgbClr val="C59EE2"/>
          </a:solidFill>
          <a:ln>
            <a:solidFill>
              <a:schemeClr val="accent1"/>
            </a:solidFill>
          </a:ln>
        </p:spPr>
        <p:txBody>
          <a:bodyPr wrap="square" lIns="91440" tIns="45720" rIns="91440" bIns="45720" rtlCol="0" anchor="ctr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endParaRPr lang="es-CO" sz="2000" cap="all" dirty="0" smtClean="0">
              <a:ln w="0"/>
              <a:gradFill flip="none">
                <a:gsLst>
                  <a:gs pos="0">
                    <a:schemeClr val="accent1">
                      <a:tint val="75000"/>
                      <a:shade val="75000"/>
                      <a:satMod val="170000"/>
                    </a:schemeClr>
                  </a:gs>
                  <a:gs pos="49000">
                    <a:schemeClr val="accent1">
                      <a:tint val="88000"/>
                      <a:shade val="65000"/>
                      <a:satMod val="172000"/>
                    </a:schemeClr>
                  </a:gs>
                  <a:gs pos="50000">
                    <a:schemeClr val="accent1">
                      <a:shade val="65000"/>
                      <a:satMod val="130000"/>
                    </a:schemeClr>
                  </a:gs>
                  <a:gs pos="92000">
                    <a:schemeClr val="accent1">
                      <a:shade val="50000"/>
                      <a:satMod val="120000"/>
                    </a:schemeClr>
                  </a:gs>
                  <a:gs pos="100000">
                    <a:schemeClr val="accent1">
                      <a:shade val="48000"/>
                      <a:satMod val="120000"/>
                    </a:schemeClr>
                  </a:gs>
                </a:gsLst>
                <a:lin ang="5400000"/>
              </a:gradFill>
              <a:effectLst>
                <a:reflection blurRad="12700" stA="50000" endPos="50000" dist="5000" dir="5400000" sy="-100000" rotWithShape="0"/>
              </a:effectLst>
              <a:latin typeface="Arial Rounded MT Bold" pitchFamily="34" charset="0"/>
            </a:endParaRPr>
          </a:p>
        </p:txBody>
      </p:sp>
      <p:graphicFrame>
        <p:nvGraphicFramePr>
          <p:cNvPr id="30" name="29 Tabla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502539319"/>
              </p:ext>
            </p:extLst>
          </p:nvPr>
        </p:nvGraphicFramePr>
        <p:xfrm>
          <a:off x="3059832" y="2708920"/>
          <a:ext cx="2736304" cy="6480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36304"/>
              </a:tblGrid>
              <a:tr h="324036">
                <a:tc>
                  <a:txBody>
                    <a:bodyPr/>
                    <a:lstStyle/>
                    <a:p>
                      <a:pPr algn="ctr"/>
                      <a:r>
                        <a:rPr lang="es-CO" sz="1400" dirty="0" smtClean="0">
                          <a:solidFill>
                            <a:schemeClr val="tx1"/>
                          </a:solidFill>
                        </a:rPr>
                        <a:t>COORDINADOR</a:t>
                      </a:r>
                      <a:endParaRPr lang="es-CO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  <a:tr h="324036">
                <a:tc>
                  <a:txBody>
                    <a:bodyPr/>
                    <a:lstStyle/>
                    <a:p>
                      <a:pPr algn="ctr"/>
                      <a:r>
                        <a:rPr lang="es-CO" sz="1400" b="1" dirty="0" smtClean="0">
                          <a:solidFill>
                            <a:srgbClr val="000099"/>
                          </a:solidFill>
                        </a:rPr>
                        <a:t>O</a:t>
                      </a:r>
                      <a:r>
                        <a:rPr lang="es-CO" sz="1400" b="1" baseline="0" dirty="0" smtClean="0">
                          <a:solidFill>
                            <a:srgbClr val="000099"/>
                          </a:solidFill>
                        </a:rPr>
                        <a:t> N A C</a:t>
                      </a:r>
                      <a:endParaRPr lang="es-CO" sz="1400" b="1" dirty="0">
                        <a:solidFill>
                          <a:srgbClr val="000099"/>
                        </a:solidFill>
                      </a:endParaRPr>
                    </a:p>
                  </a:txBody>
                  <a:tcPr>
                    <a:solidFill>
                      <a:srgbClr val="E7D287"/>
                    </a:solidFill>
                  </a:tcPr>
                </a:tc>
              </a:tr>
            </a:tbl>
          </a:graphicData>
        </a:graphic>
      </p:graphicFrame>
      <p:sp>
        <p:nvSpPr>
          <p:cNvPr id="31" name="30 Flecha abajo"/>
          <p:cNvSpPr/>
          <p:nvPr/>
        </p:nvSpPr>
        <p:spPr>
          <a:xfrm>
            <a:off x="4139952" y="3356992"/>
            <a:ext cx="504056" cy="523935"/>
          </a:xfrm>
          <a:prstGeom prst="downArrow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accent1"/>
            </a:solidFill>
          </a:ln>
        </p:spPr>
        <p:txBody>
          <a:bodyPr wrap="square" lIns="91440" tIns="45720" rIns="91440" bIns="45720" rtlCol="0" anchor="ctr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endParaRPr lang="es-CO" sz="2000" cap="all" dirty="0" smtClean="0">
              <a:ln w="0"/>
              <a:gradFill flip="none">
                <a:gsLst>
                  <a:gs pos="0">
                    <a:schemeClr val="accent1">
                      <a:tint val="75000"/>
                      <a:shade val="75000"/>
                      <a:satMod val="170000"/>
                    </a:schemeClr>
                  </a:gs>
                  <a:gs pos="49000">
                    <a:schemeClr val="accent1">
                      <a:tint val="88000"/>
                      <a:shade val="65000"/>
                      <a:satMod val="172000"/>
                    </a:schemeClr>
                  </a:gs>
                  <a:gs pos="50000">
                    <a:schemeClr val="accent1">
                      <a:shade val="65000"/>
                      <a:satMod val="130000"/>
                    </a:schemeClr>
                  </a:gs>
                  <a:gs pos="92000">
                    <a:schemeClr val="accent1">
                      <a:shade val="50000"/>
                      <a:satMod val="120000"/>
                    </a:schemeClr>
                  </a:gs>
                  <a:gs pos="100000">
                    <a:schemeClr val="accent1">
                      <a:shade val="48000"/>
                      <a:satMod val="120000"/>
                    </a:schemeClr>
                  </a:gs>
                </a:gsLst>
                <a:lin ang="5400000"/>
              </a:gradFill>
              <a:effectLst>
                <a:reflection blurRad="12700" stA="50000" endPos="50000" dist="5000" dir="5400000" sy="-100000" rotWithShape="0"/>
              </a:effectLst>
              <a:latin typeface="Arial Rounded MT Bold" pitchFamily="34" charset="0"/>
            </a:endParaRPr>
          </a:p>
        </p:txBody>
      </p:sp>
      <p:graphicFrame>
        <p:nvGraphicFramePr>
          <p:cNvPr id="32" name="31 Tabla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2247293564"/>
              </p:ext>
            </p:extLst>
          </p:nvPr>
        </p:nvGraphicFramePr>
        <p:xfrm>
          <a:off x="3059832" y="3880927"/>
          <a:ext cx="2736304" cy="15737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68152"/>
                <a:gridCol w="1368152"/>
              </a:tblGrid>
              <a:tr h="324036">
                <a:tc gridSpan="2">
                  <a:txBody>
                    <a:bodyPr/>
                    <a:lstStyle/>
                    <a:p>
                      <a:pPr algn="ctr"/>
                      <a:r>
                        <a:rPr lang="es-CO" sz="1400" dirty="0" smtClean="0">
                          <a:solidFill>
                            <a:schemeClr val="tx1"/>
                          </a:solidFill>
                        </a:rPr>
                        <a:t>EJECUTOR PARES</a:t>
                      </a:r>
                      <a:endParaRPr lang="es-CO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</a:tr>
              <a:tr h="324036">
                <a:tc>
                  <a:txBody>
                    <a:bodyPr/>
                    <a:lstStyle/>
                    <a:p>
                      <a:pPr algn="ctr"/>
                      <a:r>
                        <a:rPr lang="es-CO" sz="1400" dirty="0" smtClean="0">
                          <a:solidFill>
                            <a:schemeClr val="tx1"/>
                          </a:solidFill>
                        </a:rPr>
                        <a:t>Licencias,</a:t>
                      </a:r>
                      <a:r>
                        <a:rPr lang="es-CO" sz="1400" baseline="0" dirty="0" smtClean="0">
                          <a:solidFill>
                            <a:schemeClr val="tx1"/>
                          </a:solidFill>
                        </a:rPr>
                        <a:t> programas</a:t>
                      </a:r>
                      <a:endParaRPr lang="es-CO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dirty="0" smtClean="0">
                          <a:solidFill>
                            <a:schemeClr val="tx1"/>
                          </a:solidFill>
                        </a:rPr>
                        <a:t>Certificación</a:t>
                      </a:r>
                      <a:r>
                        <a:rPr lang="es-CO" sz="1400" baseline="0" dirty="0" smtClean="0">
                          <a:solidFill>
                            <a:schemeClr val="tx1"/>
                          </a:solidFill>
                        </a:rPr>
                        <a:t> Alta Calidad</a:t>
                      </a:r>
                      <a:endParaRPr lang="es-CO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  <a:tr h="324036">
                <a:tc>
                  <a:txBody>
                    <a:bodyPr/>
                    <a:lstStyle/>
                    <a:p>
                      <a:pPr algn="ctr"/>
                      <a:r>
                        <a:rPr lang="es-CO" sz="1400" b="1" dirty="0" smtClean="0">
                          <a:solidFill>
                            <a:srgbClr val="000099"/>
                          </a:solidFill>
                        </a:rPr>
                        <a:t>Organismos</a:t>
                      </a:r>
                      <a:r>
                        <a:rPr lang="es-CO" sz="1400" b="1" baseline="0" dirty="0" smtClean="0">
                          <a:solidFill>
                            <a:srgbClr val="000099"/>
                          </a:solidFill>
                        </a:rPr>
                        <a:t> A</a:t>
                      </a:r>
                      <a:r>
                        <a:rPr lang="es-CO" sz="1400" b="1" dirty="0" smtClean="0">
                          <a:solidFill>
                            <a:srgbClr val="000099"/>
                          </a:solidFill>
                        </a:rPr>
                        <a:t> de</a:t>
                      </a:r>
                      <a:r>
                        <a:rPr lang="es-CO" sz="1400" b="1" baseline="0" dirty="0" smtClean="0">
                          <a:solidFill>
                            <a:srgbClr val="000099"/>
                          </a:solidFill>
                        </a:rPr>
                        <a:t> Certificación de calidad</a:t>
                      </a:r>
                      <a:endParaRPr lang="es-CO" sz="1400" b="1" dirty="0">
                        <a:solidFill>
                          <a:srgbClr val="000099"/>
                        </a:solidFill>
                      </a:endParaRPr>
                    </a:p>
                  </a:txBody>
                  <a:tcPr>
                    <a:solidFill>
                      <a:srgbClr val="E7D28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400" dirty="0" smtClean="0"/>
                        <a:t>Ministerio</a:t>
                      </a:r>
                      <a:r>
                        <a:rPr lang="es-CO" sz="1400" baseline="0" dirty="0" smtClean="0"/>
                        <a:t> de Educación Nacional</a:t>
                      </a:r>
                      <a:endParaRPr lang="es-CO" sz="1400" dirty="0"/>
                    </a:p>
                  </a:txBody>
                  <a:tcPr>
                    <a:solidFill>
                      <a:srgbClr val="E7D287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33" name="32 Tabla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1280166907"/>
              </p:ext>
            </p:extLst>
          </p:nvPr>
        </p:nvGraphicFramePr>
        <p:xfrm>
          <a:off x="6084168" y="1557114"/>
          <a:ext cx="2736304" cy="6480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36304"/>
              </a:tblGrid>
              <a:tr h="324036">
                <a:tc>
                  <a:txBody>
                    <a:bodyPr/>
                    <a:lstStyle/>
                    <a:p>
                      <a:pPr algn="ctr"/>
                      <a:r>
                        <a:rPr lang="es-CO" sz="1400" dirty="0" smtClean="0">
                          <a:solidFill>
                            <a:schemeClr val="tx1"/>
                          </a:solidFill>
                        </a:rPr>
                        <a:t>POLÍTICAS</a:t>
                      </a:r>
                      <a:endParaRPr lang="es-CO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C59EE2"/>
                    </a:solidFill>
                  </a:tcPr>
                </a:tc>
              </a:tr>
              <a:tr h="324036">
                <a:tc>
                  <a:txBody>
                    <a:bodyPr/>
                    <a:lstStyle/>
                    <a:p>
                      <a:pPr algn="ctr"/>
                      <a:r>
                        <a:rPr lang="es-CO" sz="1400" dirty="0" smtClean="0"/>
                        <a:t>Ministerio</a:t>
                      </a:r>
                      <a:r>
                        <a:rPr lang="es-CO" sz="1400" baseline="0" dirty="0" smtClean="0"/>
                        <a:t> de Educación Nacional</a:t>
                      </a:r>
                      <a:endParaRPr lang="es-CO" sz="1400" dirty="0"/>
                    </a:p>
                  </a:txBody>
                  <a:tcPr>
                    <a:solidFill>
                      <a:srgbClr val="E7D287"/>
                    </a:solidFill>
                  </a:tcPr>
                </a:tc>
              </a:tr>
            </a:tbl>
          </a:graphicData>
        </a:graphic>
      </p:graphicFrame>
      <p:sp>
        <p:nvSpPr>
          <p:cNvPr id="34" name="33 Flecha abajo"/>
          <p:cNvSpPr/>
          <p:nvPr/>
        </p:nvSpPr>
        <p:spPr>
          <a:xfrm>
            <a:off x="7164288" y="2205186"/>
            <a:ext cx="504056" cy="523935"/>
          </a:xfrm>
          <a:prstGeom prst="downArrow">
            <a:avLst/>
          </a:prstGeom>
          <a:solidFill>
            <a:srgbClr val="C59EE2"/>
          </a:solidFill>
          <a:ln>
            <a:solidFill>
              <a:schemeClr val="accent1"/>
            </a:solidFill>
          </a:ln>
        </p:spPr>
        <p:txBody>
          <a:bodyPr wrap="square" lIns="91440" tIns="45720" rIns="91440" bIns="45720" rtlCol="0" anchor="ctr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endParaRPr lang="es-CO" sz="2000" cap="all" dirty="0" smtClean="0">
              <a:ln w="0"/>
              <a:gradFill flip="none">
                <a:gsLst>
                  <a:gs pos="0">
                    <a:schemeClr val="accent1">
                      <a:tint val="75000"/>
                      <a:shade val="75000"/>
                      <a:satMod val="170000"/>
                    </a:schemeClr>
                  </a:gs>
                  <a:gs pos="49000">
                    <a:schemeClr val="accent1">
                      <a:tint val="88000"/>
                      <a:shade val="65000"/>
                      <a:satMod val="172000"/>
                    </a:schemeClr>
                  </a:gs>
                  <a:gs pos="50000">
                    <a:schemeClr val="accent1">
                      <a:shade val="65000"/>
                      <a:satMod val="130000"/>
                    </a:schemeClr>
                  </a:gs>
                  <a:gs pos="92000">
                    <a:schemeClr val="accent1">
                      <a:shade val="50000"/>
                      <a:satMod val="120000"/>
                    </a:schemeClr>
                  </a:gs>
                  <a:gs pos="100000">
                    <a:schemeClr val="accent1">
                      <a:shade val="48000"/>
                      <a:satMod val="120000"/>
                    </a:schemeClr>
                  </a:gs>
                </a:gsLst>
                <a:lin ang="5400000"/>
              </a:gradFill>
              <a:effectLst>
                <a:reflection blurRad="12700" stA="50000" endPos="50000" dist="5000" dir="5400000" sy="-100000" rotWithShape="0"/>
              </a:effectLst>
              <a:latin typeface="Arial Rounded MT Bold" pitchFamily="34" charset="0"/>
            </a:endParaRPr>
          </a:p>
        </p:txBody>
      </p:sp>
      <p:graphicFrame>
        <p:nvGraphicFramePr>
          <p:cNvPr id="35" name="34 Tabla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3495218961"/>
              </p:ext>
            </p:extLst>
          </p:nvPr>
        </p:nvGraphicFramePr>
        <p:xfrm>
          <a:off x="6084168" y="2708920"/>
          <a:ext cx="2736304" cy="6480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36304"/>
              </a:tblGrid>
              <a:tr h="324036">
                <a:tc>
                  <a:txBody>
                    <a:bodyPr/>
                    <a:lstStyle/>
                    <a:p>
                      <a:pPr algn="ctr"/>
                      <a:r>
                        <a:rPr lang="es-CO" sz="1400" dirty="0" smtClean="0">
                          <a:solidFill>
                            <a:schemeClr val="tx1"/>
                          </a:solidFill>
                        </a:rPr>
                        <a:t>COORDINADOR</a:t>
                      </a:r>
                      <a:endParaRPr lang="es-CO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  <a:tr h="324036">
                <a:tc>
                  <a:txBody>
                    <a:bodyPr/>
                    <a:lstStyle/>
                    <a:p>
                      <a:pPr algn="ctr"/>
                      <a:r>
                        <a:rPr lang="es-CO" sz="1400" b="1" dirty="0" smtClean="0">
                          <a:solidFill>
                            <a:srgbClr val="000099"/>
                          </a:solidFill>
                        </a:rPr>
                        <a:t>Ministerio de Educación Nacional</a:t>
                      </a:r>
                      <a:endParaRPr lang="es-CO" sz="1400" b="1" dirty="0">
                        <a:solidFill>
                          <a:srgbClr val="000099"/>
                        </a:solidFill>
                      </a:endParaRPr>
                    </a:p>
                  </a:txBody>
                  <a:tcPr>
                    <a:solidFill>
                      <a:srgbClr val="E7D287"/>
                    </a:solidFill>
                  </a:tcPr>
                </a:tc>
              </a:tr>
            </a:tbl>
          </a:graphicData>
        </a:graphic>
      </p:graphicFrame>
      <p:sp>
        <p:nvSpPr>
          <p:cNvPr id="36" name="35 Flecha abajo"/>
          <p:cNvSpPr/>
          <p:nvPr/>
        </p:nvSpPr>
        <p:spPr>
          <a:xfrm>
            <a:off x="7164288" y="3356992"/>
            <a:ext cx="504056" cy="523935"/>
          </a:xfrm>
          <a:prstGeom prst="downArrow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chemeClr val="accent1"/>
            </a:solidFill>
          </a:ln>
        </p:spPr>
        <p:txBody>
          <a:bodyPr wrap="square" lIns="91440" tIns="45720" rIns="91440" bIns="45720" rtlCol="0" anchor="ctr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endParaRPr lang="es-CO" sz="2000" cap="all" dirty="0" smtClean="0">
              <a:ln w="0"/>
              <a:gradFill flip="none">
                <a:gsLst>
                  <a:gs pos="0">
                    <a:schemeClr val="accent1">
                      <a:tint val="75000"/>
                      <a:shade val="75000"/>
                      <a:satMod val="170000"/>
                    </a:schemeClr>
                  </a:gs>
                  <a:gs pos="49000">
                    <a:schemeClr val="accent1">
                      <a:tint val="88000"/>
                      <a:shade val="65000"/>
                      <a:satMod val="172000"/>
                    </a:schemeClr>
                  </a:gs>
                  <a:gs pos="50000">
                    <a:schemeClr val="accent1">
                      <a:shade val="65000"/>
                      <a:satMod val="130000"/>
                    </a:schemeClr>
                  </a:gs>
                  <a:gs pos="92000">
                    <a:schemeClr val="accent1">
                      <a:shade val="50000"/>
                      <a:satMod val="120000"/>
                    </a:schemeClr>
                  </a:gs>
                  <a:gs pos="100000">
                    <a:schemeClr val="accent1">
                      <a:shade val="48000"/>
                      <a:satMod val="120000"/>
                    </a:schemeClr>
                  </a:gs>
                </a:gsLst>
                <a:lin ang="5400000"/>
              </a:gradFill>
              <a:effectLst>
                <a:reflection blurRad="12700" stA="50000" endPos="50000" dist="5000" dir="5400000" sy="-100000" rotWithShape="0"/>
              </a:effectLst>
              <a:latin typeface="Arial Rounded MT Bold" pitchFamily="34" charset="0"/>
            </a:endParaRPr>
          </a:p>
        </p:txBody>
      </p:sp>
      <p:graphicFrame>
        <p:nvGraphicFramePr>
          <p:cNvPr id="37" name="36 Tabla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559664274"/>
              </p:ext>
            </p:extLst>
          </p:nvPr>
        </p:nvGraphicFramePr>
        <p:xfrm>
          <a:off x="6084168" y="3880927"/>
          <a:ext cx="2736304" cy="11662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68152"/>
                <a:gridCol w="1368152"/>
              </a:tblGrid>
              <a:tr h="324036">
                <a:tc gridSpan="2">
                  <a:txBody>
                    <a:bodyPr/>
                    <a:lstStyle/>
                    <a:p>
                      <a:pPr algn="ctr"/>
                      <a:r>
                        <a:rPr lang="es-CO" sz="1400" dirty="0" smtClean="0">
                          <a:solidFill>
                            <a:schemeClr val="tx1"/>
                          </a:solidFill>
                        </a:rPr>
                        <a:t>EJECUTOR PARES</a:t>
                      </a:r>
                      <a:endParaRPr lang="es-CO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</a:tr>
              <a:tr h="324036">
                <a:tc>
                  <a:txBody>
                    <a:bodyPr/>
                    <a:lstStyle/>
                    <a:p>
                      <a:pPr algn="ctr"/>
                      <a:r>
                        <a:rPr lang="es-CO" sz="1400" dirty="0" smtClean="0">
                          <a:solidFill>
                            <a:schemeClr val="tx1"/>
                          </a:solidFill>
                        </a:rPr>
                        <a:t>Licencias,</a:t>
                      </a:r>
                      <a:r>
                        <a:rPr lang="es-CO" sz="1400" baseline="0" dirty="0" smtClean="0">
                          <a:solidFill>
                            <a:schemeClr val="tx1"/>
                          </a:solidFill>
                        </a:rPr>
                        <a:t> programas</a:t>
                      </a:r>
                      <a:endParaRPr lang="es-CO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dirty="0" smtClean="0">
                          <a:solidFill>
                            <a:schemeClr val="tx1"/>
                          </a:solidFill>
                        </a:rPr>
                        <a:t>Certificación</a:t>
                      </a:r>
                      <a:r>
                        <a:rPr lang="es-CO" sz="1400" baseline="0" dirty="0" smtClean="0">
                          <a:solidFill>
                            <a:schemeClr val="tx1"/>
                          </a:solidFill>
                        </a:rPr>
                        <a:t> Alta Calidad</a:t>
                      </a:r>
                      <a:endParaRPr lang="es-CO" sz="14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  <a:tr h="324036">
                <a:tc>
                  <a:txBody>
                    <a:bodyPr/>
                    <a:lstStyle/>
                    <a:p>
                      <a:pPr algn="ctr"/>
                      <a:r>
                        <a:rPr lang="es-CO" sz="1400" b="1" dirty="0" smtClean="0">
                          <a:solidFill>
                            <a:srgbClr val="000099"/>
                          </a:solidFill>
                        </a:rPr>
                        <a:t>SEC</a:t>
                      </a:r>
                      <a:endParaRPr lang="es-CO" sz="1400" b="1" dirty="0">
                        <a:solidFill>
                          <a:srgbClr val="000099"/>
                        </a:solidFill>
                      </a:endParaRPr>
                    </a:p>
                  </a:txBody>
                  <a:tcPr>
                    <a:solidFill>
                      <a:srgbClr val="E7D28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b="1" dirty="0" smtClean="0">
                          <a:solidFill>
                            <a:srgbClr val="000099"/>
                          </a:solidFill>
                        </a:rPr>
                        <a:t>ONAC - OEC</a:t>
                      </a:r>
                      <a:endParaRPr lang="es-CO" sz="1400" b="1" dirty="0">
                        <a:solidFill>
                          <a:srgbClr val="000099"/>
                        </a:solidFill>
                      </a:endParaRPr>
                    </a:p>
                  </a:txBody>
                  <a:tcPr>
                    <a:solidFill>
                      <a:srgbClr val="E7D287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6" name="5 Tabla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376613168"/>
              </p:ext>
            </p:extLst>
          </p:nvPr>
        </p:nvGraphicFramePr>
        <p:xfrm>
          <a:off x="35496" y="5517232"/>
          <a:ext cx="2736304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36304"/>
              </a:tblGrid>
              <a:tr h="432048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200" dirty="0" smtClean="0">
                          <a:solidFill>
                            <a:srgbClr val="000099"/>
                          </a:solidFill>
                        </a:rPr>
                        <a:t>Certificación</a:t>
                      </a:r>
                      <a:r>
                        <a:rPr lang="es-CO" sz="1200" baseline="0" dirty="0" smtClean="0">
                          <a:solidFill>
                            <a:srgbClr val="000099"/>
                          </a:solidFill>
                        </a:rPr>
                        <a:t> de calidad por los  </a:t>
                      </a:r>
                      <a:r>
                        <a:rPr lang="es-CO" sz="1200" b="1" dirty="0" smtClean="0">
                          <a:solidFill>
                            <a:srgbClr val="000099"/>
                          </a:solidFill>
                        </a:rPr>
                        <a:t>Organismos de</a:t>
                      </a:r>
                      <a:r>
                        <a:rPr lang="es-CO" sz="1200" b="1" baseline="0" dirty="0" smtClean="0">
                          <a:solidFill>
                            <a:srgbClr val="000099"/>
                          </a:solidFill>
                        </a:rPr>
                        <a:t> Certificación de calidad</a:t>
                      </a:r>
                      <a:endParaRPr lang="es-CO" sz="1200" b="1" dirty="0" smtClean="0">
                        <a:solidFill>
                          <a:srgbClr val="000099"/>
                        </a:solidFill>
                      </a:endParaRPr>
                    </a:p>
                  </a:txBody>
                  <a:tcP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39" name="38 Tabla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2858828537"/>
              </p:ext>
            </p:extLst>
          </p:nvPr>
        </p:nvGraphicFramePr>
        <p:xfrm>
          <a:off x="3059832" y="5517232"/>
          <a:ext cx="2736304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736304"/>
              </a:tblGrid>
              <a:tr h="432048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200" dirty="0" smtClean="0">
                          <a:solidFill>
                            <a:srgbClr val="000099"/>
                          </a:solidFill>
                        </a:rPr>
                        <a:t>Certificación</a:t>
                      </a:r>
                      <a:r>
                        <a:rPr lang="es-CO" sz="1200" baseline="0" dirty="0" smtClean="0">
                          <a:solidFill>
                            <a:srgbClr val="000099"/>
                          </a:solidFill>
                        </a:rPr>
                        <a:t> de calidad por los  </a:t>
                      </a:r>
                      <a:r>
                        <a:rPr lang="es-CO" sz="1200" b="1" dirty="0" smtClean="0">
                          <a:solidFill>
                            <a:srgbClr val="000099"/>
                          </a:solidFill>
                        </a:rPr>
                        <a:t>Organismos de</a:t>
                      </a:r>
                      <a:r>
                        <a:rPr lang="es-CO" sz="1200" b="1" baseline="0" dirty="0" smtClean="0">
                          <a:solidFill>
                            <a:srgbClr val="000099"/>
                          </a:solidFill>
                        </a:rPr>
                        <a:t> Certificación de calidad</a:t>
                      </a:r>
                      <a:endParaRPr lang="es-CO" sz="1200" b="1" dirty="0" smtClean="0">
                        <a:solidFill>
                          <a:srgbClr val="000099"/>
                        </a:solidFill>
                      </a:endParaRPr>
                    </a:p>
                  </a:txBody>
                  <a:tcP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40" name="39 Tabla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3155018932"/>
              </p:ext>
            </p:extLst>
          </p:nvPr>
        </p:nvGraphicFramePr>
        <p:xfrm>
          <a:off x="6048164" y="5159464"/>
          <a:ext cx="2844316" cy="1005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844316"/>
              </a:tblGrid>
              <a:tr h="432048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200" dirty="0" smtClean="0">
                          <a:solidFill>
                            <a:srgbClr val="000099"/>
                          </a:solidFill>
                        </a:rPr>
                        <a:t>Certificación</a:t>
                      </a:r>
                      <a:r>
                        <a:rPr lang="es-CO" sz="1200" baseline="0" dirty="0" smtClean="0">
                          <a:solidFill>
                            <a:srgbClr val="000099"/>
                          </a:solidFill>
                        </a:rPr>
                        <a:t> de calidad por los  </a:t>
                      </a:r>
                      <a:r>
                        <a:rPr lang="es-CO" sz="1200" b="1" dirty="0" smtClean="0">
                          <a:solidFill>
                            <a:srgbClr val="000099"/>
                          </a:solidFill>
                        </a:rPr>
                        <a:t>Organismos de</a:t>
                      </a:r>
                      <a:r>
                        <a:rPr lang="es-CO" sz="1200" b="1" baseline="0" dirty="0" smtClean="0">
                          <a:solidFill>
                            <a:srgbClr val="000099"/>
                          </a:solidFill>
                        </a:rPr>
                        <a:t> Certificación de calidad.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s-CO" sz="1200" b="1" baseline="0" dirty="0" smtClean="0">
                        <a:solidFill>
                          <a:srgbClr val="000099"/>
                        </a:solidFill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200" b="1" baseline="0" dirty="0" smtClean="0">
                          <a:solidFill>
                            <a:srgbClr val="000099"/>
                          </a:solidFill>
                        </a:rPr>
                        <a:t> Banco de Pares como apoyo a las SEC.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200" b="1" baseline="0" dirty="0" smtClean="0">
                          <a:solidFill>
                            <a:srgbClr val="000099"/>
                          </a:solidFill>
                        </a:rPr>
                        <a:t>OEC en Alta Calidad </a:t>
                      </a:r>
                    </a:p>
                  </a:txBody>
                  <a:tcP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4" name="Rectangle 3"/>
          <p:cNvSpPr txBox="1">
            <a:spLocks noChangeArrowheads="1"/>
          </p:cNvSpPr>
          <p:nvPr/>
        </p:nvSpPr>
        <p:spPr bwMode="auto">
          <a:xfrm>
            <a:off x="5148064" y="116632"/>
            <a:ext cx="3995935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s-ES_tradnl" sz="2400" dirty="0" smtClean="0">
                <a:solidFill>
                  <a:srgbClr val="990000"/>
                </a:solidFill>
                <a:latin typeface="+mj-lt"/>
                <a:ea typeface="+mj-ea"/>
              </a:rPr>
              <a:t>OPCIONES ANALIZADAS EN BANCO DE PARES</a:t>
            </a:r>
            <a:endParaRPr lang="es-ES" sz="2400" b="1" dirty="0">
              <a:solidFill>
                <a:srgbClr val="990000"/>
              </a:solidFill>
              <a:latin typeface="+mj-lt"/>
              <a:ea typeface="+mj-ea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9882041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1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="" xmlns:p14="http://schemas.microsoft.com/office/powerpoint/2010/main" val="3664118908"/>
              </p:ext>
            </p:extLst>
          </p:nvPr>
        </p:nvGraphicFramePr>
        <p:xfrm>
          <a:off x="760040" y="2634580"/>
          <a:ext cx="5540152" cy="36027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1 Título"/>
          <p:cNvSpPr>
            <a:spLocks noGrp="1"/>
          </p:cNvSpPr>
          <p:nvPr>
            <p:ph type="title"/>
          </p:nvPr>
        </p:nvSpPr>
        <p:spPr>
          <a:solidFill>
            <a:schemeClr val="accent2">
              <a:lumMod val="75000"/>
            </a:schemeClr>
          </a:solidFill>
        </p:spPr>
        <p:txBody>
          <a:bodyPr/>
          <a:lstStyle/>
          <a:p>
            <a:r>
              <a:rPr lang="es-ES_tradnl" sz="2800" dirty="0" smtClean="0"/>
              <a:t/>
            </a:r>
            <a:br>
              <a:rPr lang="es-ES_tradnl" sz="2800" dirty="0" smtClean="0"/>
            </a:br>
            <a:r>
              <a:rPr lang="es-ES_tradnl" sz="2800" dirty="0" smtClean="0"/>
              <a:t/>
            </a:r>
            <a:br>
              <a:rPr lang="es-ES_tradnl" sz="2800" dirty="0" smtClean="0"/>
            </a:br>
            <a:r>
              <a:rPr lang="es-ES_tradnl" sz="2800" b="1" dirty="0" smtClean="0">
                <a:solidFill>
                  <a:schemeClr val="bg1"/>
                </a:solidFill>
              </a:rPr>
              <a:t>Desafíos para el área</a:t>
            </a:r>
            <a:r>
              <a:rPr lang="es-CO" sz="2800" dirty="0">
                <a:solidFill>
                  <a:schemeClr val="bg1"/>
                </a:solidFill>
              </a:rPr>
              <a:t/>
            </a:r>
            <a:br>
              <a:rPr lang="es-CO" sz="2800" dirty="0">
                <a:solidFill>
                  <a:schemeClr val="bg1"/>
                </a:solidFill>
              </a:rPr>
            </a:br>
            <a:r>
              <a:rPr lang="es-CO" sz="2800" dirty="0"/>
              <a:t/>
            </a:r>
            <a:br>
              <a:rPr lang="es-CO" sz="2800" dirty="0"/>
            </a:br>
            <a:endParaRPr lang="es-CO" sz="2800" dirty="0"/>
          </a:p>
        </p:txBody>
      </p:sp>
      <p:sp>
        <p:nvSpPr>
          <p:cNvPr id="3" name="2 Cerrar llave"/>
          <p:cNvSpPr/>
          <p:nvPr/>
        </p:nvSpPr>
        <p:spPr>
          <a:xfrm>
            <a:off x="5796136" y="2708920"/>
            <a:ext cx="504056" cy="3384376"/>
          </a:xfrm>
          <a:prstGeom prst="rightBrace">
            <a:avLst/>
          </a:prstGeom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CO"/>
          </a:p>
        </p:txBody>
      </p:sp>
      <p:sp>
        <p:nvSpPr>
          <p:cNvPr id="6" name="5 CuadroTexto"/>
          <p:cNvSpPr txBox="1"/>
          <p:nvPr/>
        </p:nvSpPr>
        <p:spPr>
          <a:xfrm rot="16200000">
            <a:off x="5927050" y="4198694"/>
            <a:ext cx="15476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ES_tradnl" sz="1800" dirty="0" smtClean="0"/>
              <a:t>Flexibilidad</a:t>
            </a:r>
            <a:endParaRPr lang="es-ES" sz="1800" dirty="0"/>
          </a:p>
        </p:txBody>
      </p:sp>
      <p:grpSp>
        <p:nvGrpSpPr>
          <p:cNvPr id="7" name="6 Grupo"/>
          <p:cNvGrpSpPr/>
          <p:nvPr/>
        </p:nvGrpSpPr>
        <p:grpSpPr>
          <a:xfrm>
            <a:off x="6948264" y="3465511"/>
            <a:ext cx="2160240" cy="1979713"/>
            <a:chOff x="2464044" y="1123876"/>
            <a:chExt cx="2343826" cy="2343826"/>
          </a:xfrm>
          <a:scene3d>
            <a:camera prst="orthographicFront"/>
            <a:lightRig rig="flat" dir="t"/>
          </a:scene3d>
        </p:grpSpPr>
        <p:sp>
          <p:nvSpPr>
            <p:cNvPr id="8" name="7 Elipse"/>
            <p:cNvSpPr/>
            <p:nvPr/>
          </p:nvSpPr>
          <p:spPr>
            <a:xfrm>
              <a:off x="2464044" y="1123876"/>
              <a:ext cx="2343826" cy="2343826"/>
            </a:xfrm>
            <a:prstGeom prst="ellipse">
              <a:avLst/>
            </a:prstGeom>
            <a:sp3d prstMaterial="plastic">
              <a:bevelT w="120900" h="88900"/>
              <a:bevelB w="88900" h="3175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alpha val="50000"/>
                <a:hueOff val="0"/>
                <a:satOff val="0"/>
                <a:lumOff val="0"/>
                <a:alphaOff val="0"/>
              </a:schemeClr>
            </a:fillRef>
            <a:effectRef idx="1">
              <a:schemeClr val="accent2">
                <a:alpha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tx1"/>
            </a:fontRef>
          </p:style>
        </p:sp>
        <p:sp>
          <p:nvSpPr>
            <p:cNvPr id="9" name="Elipse 4"/>
            <p:cNvSpPr/>
            <p:nvPr/>
          </p:nvSpPr>
          <p:spPr>
            <a:xfrm>
              <a:off x="2807289" y="1467121"/>
              <a:ext cx="1657336" cy="1657336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/>
            </a:fontRef>
          </p:style>
          <p:txBody>
            <a:bodyPr spcFirstLastPara="0" vert="horz" wrap="square" lIns="50800" tIns="50800" rIns="50800" bIns="50800" numCol="1" spcCol="1270" anchor="ctr" anchorCtr="0">
              <a:noAutofit/>
            </a:bodyPr>
            <a:lstStyle/>
            <a:p>
              <a:pPr lvl="0" algn="ctr" defTabSz="1778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s-CO" sz="3200" b="1" kern="1200" dirty="0" smtClean="0">
                  <a:effectLst/>
                </a:rPr>
                <a:t>SIACET </a:t>
              </a:r>
              <a:r>
                <a:rPr lang="es-CO" sz="1600" b="1" kern="1200" dirty="0" smtClean="0">
                  <a:effectLst/>
                </a:rPr>
                <a:t>(TECNOLOGÍA)</a:t>
              </a:r>
              <a:endParaRPr lang="es-CO" sz="1600" b="1" kern="1200" dirty="0">
                <a:effectLst/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val="2080614700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Título"/>
          <p:cNvSpPr>
            <a:spLocks noGrp="1"/>
          </p:cNvSpPr>
          <p:nvPr>
            <p:ph type="title"/>
          </p:nvPr>
        </p:nvSpPr>
        <p:spPr>
          <a:xfrm>
            <a:off x="457200" y="917848"/>
            <a:ext cx="8507288" cy="1143000"/>
          </a:xfrm>
        </p:spPr>
        <p:txBody>
          <a:bodyPr>
            <a:normAutofit/>
          </a:bodyPr>
          <a:lstStyle/>
          <a:p>
            <a:r>
              <a:rPr lang="es-CO" sz="2400" b="1" i="1" kern="0" dirty="0" smtClean="0">
                <a:solidFill>
                  <a:srgbClr val="8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Arial" pitchFamily="34" charset="0"/>
              </a:rPr>
              <a:t>MODELO DEL SISTEMA DE ASEGURAMIENTO </a:t>
            </a:r>
            <a:r>
              <a:rPr lang="es-CO" sz="2400" b="1" i="1" kern="0" dirty="0">
                <a:solidFill>
                  <a:srgbClr val="8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Arial" pitchFamily="34" charset="0"/>
              </a:rPr>
              <a:t>DE CALIDAD </a:t>
            </a:r>
            <a:r>
              <a:rPr lang="es-CO" sz="2400" b="1" i="1" kern="0" dirty="0" smtClean="0">
                <a:solidFill>
                  <a:srgbClr val="8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Arial" pitchFamily="34" charset="0"/>
              </a:rPr>
              <a:t>ETDH </a:t>
            </a:r>
            <a:endParaRPr lang="es-CO" sz="2400" b="1" i="1" kern="0" dirty="0">
              <a:solidFill>
                <a:srgbClr val="8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Narrow" pitchFamily="34" charset="0"/>
              <a:ea typeface="+mn-ea"/>
              <a:cs typeface="Arial" pitchFamily="34" charset="0"/>
            </a:endParaRPr>
          </a:p>
        </p:txBody>
      </p:sp>
      <p:graphicFrame>
        <p:nvGraphicFramePr>
          <p:cNvPr id="8" name="7 Marcador de contenido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="" xmlns:p14="http://schemas.microsoft.com/office/powerpoint/2010/main" val="4051654373"/>
              </p:ext>
            </p:extLst>
          </p:nvPr>
        </p:nvGraphicFramePr>
        <p:xfrm>
          <a:off x="1115616" y="1711349"/>
          <a:ext cx="4388296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2 CuadroTexto"/>
          <p:cNvSpPr txBox="1"/>
          <p:nvPr/>
        </p:nvSpPr>
        <p:spPr>
          <a:xfrm>
            <a:off x="3855660" y="3036093"/>
            <a:ext cx="201622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dirty="0">
                <a:solidFill>
                  <a:srgbClr val="000099"/>
                </a:solidFill>
              </a:rPr>
              <a:t>SGC por Organismos de Tercera Parte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2103" y="2852936"/>
            <a:ext cx="3752471" cy="22316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13698047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3450" y="1124744"/>
            <a:ext cx="7277100" cy="5105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1394427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CuadroTexto"/>
          <p:cNvSpPr txBox="1"/>
          <p:nvPr/>
        </p:nvSpPr>
        <p:spPr>
          <a:xfrm>
            <a:off x="1187624" y="2636912"/>
            <a:ext cx="6984776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ES_tradnl" sz="3200" dirty="0" smtClean="0"/>
              <a:t>¿Cuál es la importancia que tiene la educación para el trabajo y el desarrollo humano en el contexto de la educación terciaria?</a:t>
            </a:r>
            <a:endParaRPr lang="es-ES" sz="3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3"/>
          <p:cNvGrpSpPr>
            <a:grpSpLocks/>
          </p:cNvGrpSpPr>
          <p:nvPr/>
        </p:nvGrpSpPr>
        <p:grpSpPr bwMode="auto">
          <a:xfrm>
            <a:off x="1981200" y="2457450"/>
            <a:ext cx="723900" cy="4046538"/>
            <a:chOff x="1248" y="1548"/>
            <a:chExt cx="456" cy="2549"/>
          </a:xfrm>
        </p:grpSpPr>
        <p:sp>
          <p:nvSpPr>
            <p:cNvPr id="4" name="Text Box 4"/>
            <p:cNvSpPr txBox="1">
              <a:spLocks noChangeArrowheads="1"/>
            </p:cNvSpPr>
            <p:nvPr/>
          </p:nvSpPr>
          <p:spPr bwMode="auto">
            <a:xfrm rot="16200000">
              <a:off x="158" y="2671"/>
              <a:ext cx="2516" cy="3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rgbClr val="F2E6CC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/>
            <a:p>
              <a:pPr algn="ctr">
                <a:spcBef>
                  <a:spcPct val="20000"/>
                </a:spcBef>
                <a:defRPr/>
              </a:pPr>
              <a:r>
                <a:rPr lang="es-MX" altLang="es-CO" sz="2900" b="1">
                  <a:effectLst>
                    <a:outerShdw blurRad="38100" dist="38100" dir="2700000" algn="tl">
                      <a:srgbClr val="C0C0C0"/>
                    </a:outerShdw>
                  </a:effectLst>
                </a:rPr>
                <a:t>CALIDAD</a:t>
              </a:r>
              <a:endParaRPr lang="es-ES" altLang="es-CO" sz="2800" b="1"/>
            </a:p>
          </p:txBody>
        </p:sp>
        <p:sp>
          <p:nvSpPr>
            <p:cNvPr id="5" name="AutoShape 5"/>
            <p:cNvSpPr>
              <a:spLocks noChangeArrowheads="1"/>
            </p:cNvSpPr>
            <p:nvPr/>
          </p:nvSpPr>
          <p:spPr bwMode="auto">
            <a:xfrm>
              <a:off x="1488" y="1548"/>
              <a:ext cx="216" cy="2216"/>
            </a:xfrm>
            <a:prstGeom prst="upArrow">
              <a:avLst>
                <a:gd name="adj1" fmla="val 27778"/>
                <a:gd name="adj2" fmla="val 278710"/>
              </a:avLst>
            </a:prstGeom>
            <a:noFill/>
            <a:ln w="38100" cmpd="dbl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rgbClr val="0000FF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s-CO" altLang="es-CO"/>
            </a:p>
          </p:txBody>
        </p:sp>
      </p:grpSp>
      <p:sp>
        <p:nvSpPr>
          <p:cNvPr id="6" name="Rectangle 6"/>
          <p:cNvSpPr>
            <a:spLocks noChangeArrowheads="1"/>
          </p:cNvSpPr>
          <p:nvPr/>
        </p:nvSpPr>
        <p:spPr bwMode="auto">
          <a:xfrm>
            <a:off x="2843213" y="4293096"/>
            <a:ext cx="3810000" cy="812530"/>
          </a:xfrm>
          <a:prstGeom prst="rect">
            <a:avLst/>
          </a:prstGeom>
          <a:gradFill rotWithShape="1">
            <a:gsLst>
              <a:gs pos="0">
                <a:srgbClr val="A9A965"/>
              </a:gs>
              <a:gs pos="50000">
                <a:srgbClr val="FFFF99"/>
              </a:gs>
              <a:gs pos="100000">
                <a:srgbClr val="A9A965"/>
              </a:gs>
            </a:gsLst>
            <a:lin ang="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20000"/>
              </a:spcBef>
            </a:pPr>
            <a:endParaRPr lang="en-US" altLang="es-CO" sz="1600" b="1"/>
          </a:p>
        </p:txBody>
      </p:sp>
      <p:sp>
        <p:nvSpPr>
          <p:cNvPr id="7" name="Rectangle 7"/>
          <p:cNvSpPr>
            <a:spLocks noChangeArrowheads="1"/>
          </p:cNvSpPr>
          <p:nvPr/>
        </p:nvSpPr>
        <p:spPr bwMode="auto">
          <a:xfrm>
            <a:off x="2843213" y="3141664"/>
            <a:ext cx="3810000" cy="1074736"/>
          </a:xfrm>
          <a:prstGeom prst="rect">
            <a:avLst/>
          </a:prstGeom>
          <a:gradFill rotWithShape="1">
            <a:gsLst>
              <a:gs pos="0">
                <a:srgbClr val="FFCC00">
                  <a:gamma/>
                  <a:shade val="56078"/>
                  <a:invGamma/>
                </a:srgbClr>
              </a:gs>
              <a:gs pos="50000">
                <a:srgbClr val="FFCC00">
                  <a:alpha val="95000"/>
                </a:srgbClr>
              </a:gs>
              <a:gs pos="100000">
                <a:srgbClr val="FFCC00">
                  <a:gamma/>
                  <a:shade val="56078"/>
                  <a:invGamma/>
                </a:srgbClr>
              </a:gs>
            </a:gsLst>
            <a:lin ang="0" scaled="1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>
              <a:defRPr/>
            </a:pPr>
            <a:endParaRPr lang="es-CO"/>
          </a:p>
        </p:txBody>
      </p:sp>
      <p:sp>
        <p:nvSpPr>
          <p:cNvPr id="8" name="Text Box 8"/>
          <p:cNvSpPr txBox="1">
            <a:spLocks noChangeArrowheads="1"/>
          </p:cNvSpPr>
          <p:nvPr/>
        </p:nvSpPr>
        <p:spPr bwMode="auto">
          <a:xfrm>
            <a:off x="2853701" y="4326340"/>
            <a:ext cx="3733800" cy="597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2E6CC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20000"/>
              </a:spcBef>
            </a:pPr>
            <a:r>
              <a:rPr lang="es-MX" altLang="es-CO" sz="1600" b="1" dirty="0" smtClean="0"/>
              <a:t>CERTIFICACIÓN DE CALIDAD</a:t>
            </a:r>
            <a:endParaRPr lang="es-MX" altLang="es-CO" sz="1600" b="1" dirty="0"/>
          </a:p>
          <a:p>
            <a:pPr algn="ctr" eaLnBrk="1" hangingPunct="1">
              <a:spcBef>
                <a:spcPct val="20000"/>
              </a:spcBef>
            </a:pPr>
            <a:r>
              <a:rPr lang="es-MX" altLang="es-CO" b="1" dirty="0" smtClean="0"/>
              <a:t>(</a:t>
            </a:r>
            <a:r>
              <a:rPr lang="es-MX" altLang="es-CO" dirty="0" smtClean="0"/>
              <a:t>Normas Técnicas de Calidad </a:t>
            </a:r>
            <a:r>
              <a:rPr lang="es-MX" altLang="es-CO" b="1" dirty="0" smtClean="0"/>
              <a:t>)</a:t>
            </a:r>
            <a:endParaRPr lang="es-MX" altLang="es-CO" sz="1600" b="1" dirty="0"/>
          </a:p>
        </p:txBody>
      </p:sp>
      <p:sp>
        <p:nvSpPr>
          <p:cNvPr id="9" name="Text Box 9"/>
          <p:cNvSpPr txBox="1">
            <a:spLocks noChangeArrowheads="1"/>
          </p:cNvSpPr>
          <p:nvPr/>
        </p:nvSpPr>
        <p:spPr bwMode="auto">
          <a:xfrm>
            <a:off x="4681538" y="4148138"/>
            <a:ext cx="184150" cy="396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2E6CC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20000"/>
              </a:spcBef>
            </a:pPr>
            <a:endParaRPr lang="en-US" altLang="es-CO" sz="2000" b="1"/>
          </a:p>
        </p:txBody>
      </p:sp>
      <p:sp>
        <p:nvSpPr>
          <p:cNvPr id="10" name="Text Box 10"/>
          <p:cNvSpPr txBox="1">
            <a:spLocks noChangeArrowheads="1"/>
          </p:cNvSpPr>
          <p:nvPr/>
        </p:nvSpPr>
        <p:spPr bwMode="auto">
          <a:xfrm>
            <a:off x="2976563" y="3146425"/>
            <a:ext cx="3597275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2E6CC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20000"/>
              </a:spcBef>
            </a:pPr>
            <a:endParaRPr lang="en-US" altLang="es-CO" sz="1600" b="1"/>
          </a:p>
        </p:txBody>
      </p:sp>
      <p:sp>
        <p:nvSpPr>
          <p:cNvPr id="11" name="Text Box 11"/>
          <p:cNvSpPr txBox="1">
            <a:spLocks noChangeArrowheads="1"/>
          </p:cNvSpPr>
          <p:nvPr/>
        </p:nvSpPr>
        <p:spPr bwMode="auto">
          <a:xfrm>
            <a:off x="2843213" y="2420888"/>
            <a:ext cx="3870325" cy="677108"/>
          </a:xfrm>
          <a:prstGeom prst="rect">
            <a:avLst/>
          </a:prstGeom>
          <a:noFill/>
          <a:ln w="38100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2E6CC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algn="ctr">
              <a:spcBef>
                <a:spcPct val="20000"/>
              </a:spcBef>
              <a:defRPr/>
            </a:pPr>
            <a:r>
              <a:rPr lang="es-MX" altLang="es-CO" sz="1900" b="1" dirty="0" smtClean="0">
                <a:effectLst>
                  <a:outerShdw blurRad="38100" dist="38100" dir="2700000" algn="tl">
                    <a:srgbClr val="C0C0C0"/>
                  </a:outerShdw>
                </a:effectLst>
              </a:rPr>
              <a:t>ASEGURAMIENTO DE </a:t>
            </a:r>
            <a:r>
              <a:rPr lang="es-MX" altLang="es-CO" sz="1900" b="1" dirty="0">
                <a:effectLst>
                  <a:outerShdw blurRad="38100" dist="38100" dir="2700000" algn="tl">
                    <a:srgbClr val="C0C0C0"/>
                  </a:outerShdw>
                </a:effectLst>
              </a:rPr>
              <a:t>CALIDAD</a:t>
            </a:r>
            <a:endParaRPr lang="es-ES" altLang="es-CO" sz="1900" b="1" dirty="0"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12" name="Text Box 12"/>
          <p:cNvSpPr txBox="1">
            <a:spLocks noChangeArrowheads="1"/>
          </p:cNvSpPr>
          <p:nvPr/>
        </p:nvSpPr>
        <p:spPr bwMode="auto">
          <a:xfrm>
            <a:off x="-1" y="1897695"/>
            <a:ext cx="2117725" cy="76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2E6CC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20000"/>
              </a:spcBef>
            </a:pPr>
            <a:r>
              <a:rPr lang="es-MX" altLang="es-CO" sz="2000" b="1" u="sng" dirty="0"/>
              <a:t>PROVISIÓN</a:t>
            </a:r>
          </a:p>
          <a:p>
            <a:pPr algn="ctr" eaLnBrk="1" hangingPunct="1">
              <a:spcBef>
                <a:spcPct val="20000"/>
              </a:spcBef>
            </a:pPr>
            <a:r>
              <a:rPr lang="es-MX" altLang="es-CO" sz="2000" b="1" u="sng" dirty="0"/>
              <a:t>INFORMACIÓN</a:t>
            </a:r>
            <a:endParaRPr lang="es-ES" altLang="es-CO" sz="2000" b="1" u="sng" dirty="0"/>
          </a:p>
        </p:txBody>
      </p:sp>
      <p:grpSp>
        <p:nvGrpSpPr>
          <p:cNvPr id="14" name="Group 14"/>
          <p:cNvGrpSpPr>
            <a:grpSpLocks/>
          </p:cNvGrpSpPr>
          <p:nvPr/>
        </p:nvGrpSpPr>
        <p:grpSpPr bwMode="auto">
          <a:xfrm>
            <a:off x="144687" y="5444162"/>
            <a:ext cx="1917700" cy="704850"/>
            <a:chOff x="96" y="2288"/>
            <a:chExt cx="1208" cy="444"/>
          </a:xfrm>
        </p:grpSpPr>
        <p:sp>
          <p:nvSpPr>
            <p:cNvPr id="15" name="AutoShape 15"/>
            <p:cNvSpPr>
              <a:spLocks noChangeArrowheads="1"/>
            </p:cNvSpPr>
            <p:nvPr/>
          </p:nvSpPr>
          <p:spPr bwMode="auto">
            <a:xfrm rot="5400000">
              <a:off x="478" y="1906"/>
              <a:ext cx="444" cy="1208"/>
            </a:xfrm>
            <a:prstGeom prst="upArrow">
              <a:avLst>
                <a:gd name="adj1" fmla="val 50000"/>
                <a:gd name="adj2" fmla="val 68018"/>
              </a:avLst>
            </a:prstGeom>
            <a:gradFill rotWithShape="1">
              <a:gsLst>
                <a:gs pos="0">
                  <a:srgbClr val="56728F"/>
                </a:gs>
                <a:gs pos="50000">
                  <a:srgbClr val="99CCFF"/>
                </a:gs>
                <a:gs pos="100000">
                  <a:srgbClr val="56728F"/>
                </a:gs>
              </a:gsLst>
              <a:lin ang="0" scaled="1"/>
            </a:gra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s-CO" altLang="es-CO"/>
            </a:p>
          </p:txBody>
        </p:sp>
        <p:sp>
          <p:nvSpPr>
            <p:cNvPr id="16" name="Text Box 16"/>
            <p:cNvSpPr txBox="1">
              <a:spLocks noChangeArrowheads="1"/>
            </p:cNvSpPr>
            <p:nvPr/>
          </p:nvSpPr>
          <p:spPr bwMode="auto">
            <a:xfrm>
              <a:off x="384" y="2391"/>
              <a:ext cx="439" cy="233"/>
            </a:xfrm>
            <a:prstGeom prst="rect">
              <a:avLst/>
            </a:prstGeom>
            <a:gradFill rotWithShape="1">
              <a:gsLst>
                <a:gs pos="0">
                  <a:srgbClr val="56728F"/>
                </a:gs>
                <a:gs pos="50000">
                  <a:srgbClr val="99CCFF"/>
                </a:gs>
                <a:gs pos="100000">
                  <a:srgbClr val="56728F"/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20000"/>
                </a:spcBef>
              </a:pPr>
              <a:r>
                <a:rPr lang="es-MX" altLang="es-CO" sz="1800" b="1" dirty="0" smtClean="0"/>
                <a:t>SIET</a:t>
              </a:r>
              <a:endParaRPr lang="es-ES" altLang="es-CO" sz="1800" b="1" dirty="0"/>
            </a:p>
          </p:txBody>
        </p:sp>
      </p:grpSp>
      <p:grpSp>
        <p:nvGrpSpPr>
          <p:cNvPr id="20" name="Group 20"/>
          <p:cNvGrpSpPr>
            <a:grpSpLocks/>
          </p:cNvGrpSpPr>
          <p:nvPr/>
        </p:nvGrpSpPr>
        <p:grpSpPr bwMode="auto">
          <a:xfrm>
            <a:off x="125641" y="4580066"/>
            <a:ext cx="1879600" cy="704850"/>
            <a:chOff x="96" y="2640"/>
            <a:chExt cx="1184" cy="444"/>
          </a:xfrm>
        </p:grpSpPr>
        <p:sp>
          <p:nvSpPr>
            <p:cNvPr id="21" name="AutoShape 21"/>
            <p:cNvSpPr>
              <a:spLocks noChangeArrowheads="1"/>
            </p:cNvSpPr>
            <p:nvPr/>
          </p:nvSpPr>
          <p:spPr bwMode="auto">
            <a:xfrm rot="5400000">
              <a:off x="466" y="2270"/>
              <a:ext cx="444" cy="1184"/>
            </a:xfrm>
            <a:prstGeom prst="upArrow">
              <a:avLst>
                <a:gd name="adj1" fmla="val 50000"/>
                <a:gd name="adj2" fmla="val 66667"/>
              </a:avLst>
            </a:prstGeom>
            <a:gradFill rotWithShape="1">
              <a:gsLst>
                <a:gs pos="0">
                  <a:srgbClr val="56728F"/>
                </a:gs>
                <a:gs pos="50000">
                  <a:srgbClr val="99CCFF"/>
                </a:gs>
                <a:gs pos="100000">
                  <a:srgbClr val="56728F"/>
                </a:gs>
              </a:gsLst>
              <a:lin ang="0" scaled="1"/>
            </a:gra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/>
              <a:endParaRPr lang="es-CO" altLang="es-CO"/>
            </a:p>
          </p:txBody>
        </p:sp>
        <p:sp>
          <p:nvSpPr>
            <p:cNvPr id="22" name="Text Box 22"/>
            <p:cNvSpPr txBox="1">
              <a:spLocks noChangeArrowheads="1"/>
            </p:cNvSpPr>
            <p:nvPr/>
          </p:nvSpPr>
          <p:spPr bwMode="auto">
            <a:xfrm>
              <a:off x="324" y="2748"/>
              <a:ext cx="649" cy="233"/>
            </a:xfrm>
            <a:prstGeom prst="rect">
              <a:avLst/>
            </a:prstGeom>
            <a:gradFill rotWithShape="1">
              <a:gsLst>
                <a:gs pos="0">
                  <a:srgbClr val="56728F"/>
                </a:gs>
                <a:gs pos="50000">
                  <a:srgbClr val="99CCFF"/>
                </a:gs>
                <a:gs pos="100000">
                  <a:srgbClr val="56728F"/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spcBef>
                  <a:spcPct val="20000"/>
                </a:spcBef>
              </a:pPr>
              <a:r>
                <a:rPr lang="es-MX" altLang="es-CO" sz="1800" b="1" dirty="0" smtClean="0"/>
                <a:t>SIACET</a:t>
              </a:r>
              <a:endParaRPr lang="es-ES" altLang="es-CO" sz="1800" b="1" dirty="0"/>
            </a:p>
          </p:txBody>
        </p:sp>
      </p:grpSp>
      <p:sp>
        <p:nvSpPr>
          <p:cNvPr id="23" name="AutoShape 23"/>
          <p:cNvSpPr>
            <a:spLocks noChangeArrowheads="1"/>
          </p:cNvSpPr>
          <p:nvPr/>
        </p:nvSpPr>
        <p:spPr bwMode="auto">
          <a:xfrm>
            <a:off x="6732588" y="2561085"/>
            <a:ext cx="2376487" cy="3604219"/>
          </a:xfrm>
          <a:prstGeom prst="leftArrow">
            <a:avLst>
              <a:gd name="adj1" fmla="val 55481"/>
              <a:gd name="adj2" fmla="val 27856"/>
            </a:avLst>
          </a:prstGeom>
          <a:gradFill rotWithShape="1">
            <a:gsLst>
              <a:gs pos="0">
                <a:srgbClr val="56728F"/>
              </a:gs>
              <a:gs pos="50000">
                <a:srgbClr val="99CCFF"/>
              </a:gs>
              <a:gs pos="100000">
                <a:srgbClr val="56728F"/>
              </a:gs>
            </a:gsLst>
            <a:lin ang="0" scaled="1"/>
          </a:gradFill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es-CO" altLang="es-CO"/>
          </a:p>
        </p:txBody>
      </p:sp>
      <p:sp>
        <p:nvSpPr>
          <p:cNvPr id="24" name="Text Box 24"/>
          <p:cNvSpPr txBox="1">
            <a:spLocks noChangeArrowheads="1"/>
          </p:cNvSpPr>
          <p:nvPr/>
        </p:nvSpPr>
        <p:spPr bwMode="auto">
          <a:xfrm>
            <a:off x="6781800" y="3649613"/>
            <a:ext cx="2362200" cy="19082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</a:defRPr>
            </a:lvl1pPr>
            <a:lvl2pPr eaLnBrk="0" hangingPunct="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s-ES_tradnl" altLang="es-CO" sz="1600" b="1" dirty="0" smtClean="0"/>
              <a:t>Asistencia Técnica</a:t>
            </a:r>
            <a:endParaRPr lang="es-ES_tradnl" altLang="es-CO" sz="1600" b="1" dirty="0"/>
          </a:p>
          <a:p>
            <a:pPr lvl="1" eaLnBrk="1" hangingPunct="1">
              <a:buFontTx/>
              <a:buChar char="•"/>
            </a:pPr>
            <a:r>
              <a:rPr lang="es-MX" altLang="es-CO" sz="1200" dirty="0" smtClean="0"/>
              <a:t>Secretarías de educación Certificadas </a:t>
            </a:r>
            <a:endParaRPr lang="es-MX" altLang="es-CO" sz="1200" dirty="0"/>
          </a:p>
          <a:p>
            <a:pPr lvl="1" eaLnBrk="1" hangingPunct="1">
              <a:buFontTx/>
              <a:buChar char="•"/>
            </a:pPr>
            <a:r>
              <a:rPr lang="es-CO" altLang="es-CO" sz="1200" dirty="0" smtClean="0"/>
              <a:t>Instituciones de Educación para el Trabajo.</a:t>
            </a:r>
          </a:p>
          <a:p>
            <a:pPr lvl="1" eaLnBrk="1" hangingPunct="1">
              <a:buFontTx/>
              <a:buChar char="•"/>
            </a:pPr>
            <a:r>
              <a:rPr lang="es-CO" altLang="es-CO" sz="1200" dirty="0" smtClean="0"/>
              <a:t>Organismos certificadores</a:t>
            </a:r>
            <a:endParaRPr lang="es-ES" altLang="es-CO" sz="1200" dirty="0"/>
          </a:p>
          <a:p>
            <a:pPr algn="ctr">
              <a:spcBef>
                <a:spcPct val="50000"/>
              </a:spcBef>
            </a:pPr>
            <a:endParaRPr lang="es-ES_tradnl" altLang="es-CO" sz="1200" b="1" dirty="0"/>
          </a:p>
        </p:txBody>
      </p:sp>
      <p:sp>
        <p:nvSpPr>
          <p:cNvPr id="25" name="Text Box 25"/>
          <p:cNvSpPr txBox="1">
            <a:spLocks noChangeArrowheads="1"/>
          </p:cNvSpPr>
          <p:nvPr/>
        </p:nvSpPr>
        <p:spPr bwMode="auto">
          <a:xfrm>
            <a:off x="2989263" y="3420289"/>
            <a:ext cx="3384550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2E6CC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20000"/>
              </a:spcBef>
            </a:pPr>
            <a:r>
              <a:rPr lang="es-CO" altLang="es-CO" sz="1600" b="1" dirty="0" smtClean="0">
                <a:solidFill>
                  <a:srgbClr val="FF0000"/>
                </a:solidFill>
              </a:rPr>
              <a:t>CERTIFICACIÓN </a:t>
            </a:r>
            <a:r>
              <a:rPr lang="es-CO" altLang="es-CO" sz="1600" b="1" dirty="0">
                <a:solidFill>
                  <a:srgbClr val="FF0000"/>
                </a:solidFill>
              </a:rPr>
              <a:t>DE ALTA </a:t>
            </a:r>
            <a:r>
              <a:rPr lang="es-CO" altLang="es-CO" sz="1600" b="1" dirty="0" smtClean="0">
                <a:solidFill>
                  <a:srgbClr val="FF0000"/>
                </a:solidFill>
              </a:rPr>
              <a:t>CALIDAD</a:t>
            </a:r>
            <a:endParaRPr lang="es-CO" altLang="es-CO" sz="1600" b="1" dirty="0">
              <a:solidFill>
                <a:srgbClr val="FF0000"/>
              </a:solidFill>
            </a:endParaRPr>
          </a:p>
        </p:txBody>
      </p:sp>
      <p:sp>
        <p:nvSpPr>
          <p:cNvPr id="26" name="1 Título"/>
          <p:cNvSpPr>
            <a:spLocks noGrp="1"/>
          </p:cNvSpPr>
          <p:nvPr>
            <p:ph type="title"/>
          </p:nvPr>
        </p:nvSpPr>
        <p:spPr>
          <a:xfrm>
            <a:off x="0" y="1268760"/>
            <a:ext cx="9396536" cy="504056"/>
          </a:xfrm>
        </p:spPr>
        <p:txBody>
          <a:bodyPr/>
          <a:lstStyle/>
          <a:p>
            <a:pPr>
              <a:defRPr/>
            </a:pPr>
            <a:r>
              <a:rPr lang="es-CO" sz="3200" b="1" i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Narrow" pitchFamily="34" charset="0"/>
                <a:ea typeface="+mn-ea"/>
                <a:cs typeface="Arial" pitchFamily="34" charset="0"/>
              </a:rPr>
              <a:t>Sistema de Aseguramiento de Calidad de ET - SACET</a:t>
            </a:r>
          </a:p>
        </p:txBody>
      </p:sp>
      <p:sp>
        <p:nvSpPr>
          <p:cNvPr id="27" name="Rectangle 6"/>
          <p:cNvSpPr>
            <a:spLocks noChangeArrowheads="1"/>
          </p:cNvSpPr>
          <p:nvPr/>
        </p:nvSpPr>
        <p:spPr bwMode="auto">
          <a:xfrm>
            <a:off x="2843808" y="5158134"/>
            <a:ext cx="3810000" cy="812530"/>
          </a:xfrm>
          <a:prstGeom prst="rect">
            <a:avLst/>
          </a:prstGeom>
          <a:gradFill rotWithShape="1">
            <a:gsLst>
              <a:gs pos="0">
                <a:srgbClr val="FFEFD1"/>
              </a:gs>
              <a:gs pos="64999">
                <a:srgbClr val="F0EBD5"/>
              </a:gs>
              <a:gs pos="100000">
                <a:srgbClr val="D1C39F"/>
              </a:gs>
            </a:gsLst>
            <a:lin ang="0" scaled="0"/>
          </a:gradFill>
          <a:ln w="9525">
            <a:solidFill>
              <a:schemeClr val="tx1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20000"/>
              </a:spcBef>
            </a:pPr>
            <a:endParaRPr lang="en-US" altLang="es-CO" sz="1600" b="1"/>
          </a:p>
        </p:txBody>
      </p:sp>
      <p:sp>
        <p:nvSpPr>
          <p:cNvPr id="28" name="Text Box 8"/>
          <p:cNvSpPr txBox="1">
            <a:spLocks noChangeArrowheads="1"/>
          </p:cNvSpPr>
          <p:nvPr/>
        </p:nvSpPr>
        <p:spPr bwMode="auto">
          <a:xfrm>
            <a:off x="2854296" y="5191378"/>
            <a:ext cx="3733800" cy="8125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2E6CC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20000"/>
              </a:spcBef>
            </a:pPr>
            <a:r>
              <a:rPr lang="es-MX" altLang="es-CO" sz="1600" b="1" dirty="0" smtClean="0"/>
              <a:t>BANCO DE PARES</a:t>
            </a:r>
            <a:endParaRPr lang="es-MX" altLang="es-CO" sz="1600" b="1" dirty="0"/>
          </a:p>
          <a:p>
            <a:pPr algn="ctr" eaLnBrk="1" hangingPunct="1">
              <a:spcBef>
                <a:spcPct val="20000"/>
              </a:spcBef>
            </a:pPr>
            <a:r>
              <a:rPr lang="es-MX" altLang="es-CO" b="1" dirty="0" smtClean="0"/>
              <a:t>(</a:t>
            </a:r>
            <a:r>
              <a:rPr lang="es-MX" altLang="es-CO" dirty="0" smtClean="0"/>
              <a:t>Licencias de funcionamiento, aprobación programas</a:t>
            </a:r>
            <a:r>
              <a:rPr lang="es-MX" altLang="es-CO" b="1" dirty="0" smtClean="0"/>
              <a:t>)</a:t>
            </a:r>
            <a:endParaRPr lang="es-MX" altLang="es-CO" sz="1600" b="1" dirty="0"/>
          </a:p>
        </p:txBody>
      </p:sp>
      <p:sp>
        <p:nvSpPr>
          <p:cNvPr id="29" name="Text Box 12"/>
          <p:cNvSpPr txBox="1">
            <a:spLocks noChangeArrowheads="1"/>
          </p:cNvSpPr>
          <p:nvPr/>
        </p:nvSpPr>
        <p:spPr bwMode="auto">
          <a:xfrm>
            <a:off x="-108520" y="5929535"/>
            <a:ext cx="2117725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2E6CC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20000"/>
              </a:spcBef>
            </a:pPr>
            <a:r>
              <a:rPr lang="es-MX" altLang="es-CO" b="1" u="sng" dirty="0" smtClean="0"/>
              <a:t>OLET</a:t>
            </a:r>
            <a:endParaRPr lang="es-ES" altLang="es-CO" b="1" u="sng" dirty="0"/>
          </a:p>
        </p:txBody>
      </p:sp>
      <p:sp>
        <p:nvSpPr>
          <p:cNvPr id="30" name="Text Box 22"/>
          <p:cNvSpPr txBox="1">
            <a:spLocks noChangeArrowheads="1"/>
          </p:cNvSpPr>
          <p:nvPr/>
        </p:nvSpPr>
        <p:spPr bwMode="auto">
          <a:xfrm>
            <a:off x="179512" y="2915652"/>
            <a:ext cx="954107" cy="369332"/>
          </a:xfrm>
          <a:prstGeom prst="rect">
            <a:avLst/>
          </a:prstGeom>
          <a:gradFill rotWithShape="1">
            <a:gsLst>
              <a:gs pos="0">
                <a:srgbClr val="56728F"/>
              </a:gs>
              <a:gs pos="50000">
                <a:srgbClr val="99CCFF"/>
              </a:gs>
              <a:gs pos="100000">
                <a:srgbClr val="56728F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20000"/>
              </a:spcBef>
            </a:pPr>
            <a:r>
              <a:rPr lang="es-MX" altLang="es-CO" sz="1800" b="1" dirty="0" smtClean="0"/>
              <a:t>SCAFT</a:t>
            </a:r>
            <a:endParaRPr lang="es-ES" altLang="es-CO" sz="1800" b="1" dirty="0"/>
          </a:p>
        </p:txBody>
      </p:sp>
      <p:sp>
        <p:nvSpPr>
          <p:cNvPr id="2" name="1 Rectángulo"/>
          <p:cNvSpPr/>
          <p:nvPr/>
        </p:nvSpPr>
        <p:spPr>
          <a:xfrm>
            <a:off x="143020" y="3314700"/>
            <a:ext cx="191936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s-CO" sz="1000" b="0" dirty="0" smtClean="0"/>
              <a:t>Comisión </a:t>
            </a:r>
            <a:r>
              <a:rPr lang="es-CO" sz="1000" b="0" dirty="0"/>
              <a:t>de </a:t>
            </a:r>
            <a:r>
              <a:rPr lang="es-CO" sz="1000" b="0" dirty="0" smtClean="0"/>
              <a:t>Calidad CCAFT.</a:t>
            </a:r>
            <a:endParaRPr lang="es-CO" sz="1000" b="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O" sz="1000" b="0" dirty="0" smtClean="0"/>
              <a:t>Comités </a:t>
            </a:r>
            <a:r>
              <a:rPr lang="es-CO" sz="1000" b="0" dirty="0"/>
              <a:t>sectoriale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O" sz="1000" b="0" dirty="0" smtClean="0"/>
              <a:t>Organismos </a:t>
            </a:r>
            <a:r>
              <a:rPr lang="es-CO" sz="1000" b="0" dirty="0"/>
              <a:t>de tercera parte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CO" sz="1000" b="0" dirty="0" smtClean="0"/>
              <a:t>Programas </a:t>
            </a:r>
            <a:r>
              <a:rPr lang="es-CO" sz="1000" b="0" dirty="0"/>
              <a:t>e instituciones</a:t>
            </a:r>
            <a:endParaRPr lang="es-CO" sz="1000" dirty="0"/>
          </a:p>
        </p:txBody>
      </p:sp>
    </p:spTree>
    <p:extLst>
      <p:ext uri="{BB962C8B-B14F-4D97-AF65-F5344CB8AC3E}">
        <p14:creationId xmlns="" xmlns:p14="http://schemas.microsoft.com/office/powerpoint/2010/main" val="19652976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z="2400" b="1" dirty="0" smtClean="0"/>
              <a:t>PROCEDIMIENTO BÁSICO PARA LA OBTENCIÓN DE LICENCIAS Y APROBACIONES</a:t>
            </a:r>
            <a:endParaRPr lang="es-ES" sz="2400" b="1" dirty="0"/>
          </a:p>
        </p:txBody>
      </p:sp>
      <p:graphicFrame>
        <p:nvGraphicFramePr>
          <p:cNvPr id="5" name="4 Diagrama"/>
          <p:cNvGraphicFramePr/>
          <p:nvPr>
            <p:extLst>
              <p:ext uri="{D42A27DB-BD31-4B8C-83A1-F6EECF244321}">
                <p14:modId xmlns="" xmlns:p14="http://schemas.microsoft.com/office/powerpoint/2010/main" val="1227023650"/>
              </p:ext>
            </p:extLst>
          </p:nvPr>
        </p:nvGraphicFramePr>
        <p:xfrm>
          <a:off x="251520" y="1700808"/>
          <a:ext cx="8568952" cy="47721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="" xmlns:p14="http://schemas.microsoft.com/office/powerpoint/2010/main" val="40488002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1 Título"/>
          <p:cNvSpPr>
            <a:spLocks noGrp="1"/>
          </p:cNvSpPr>
          <p:nvPr>
            <p:ph type="title"/>
          </p:nvPr>
        </p:nvSpPr>
        <p:spPr>
          <a:xfrm>
            <a:off x="685800" y="1206500"/>
            <a:ext cx="7990656" cy="1142380"/>
          </a:xfrm>
        </p:spPr>
        <p:txBody>
          <a:bodyPr/>
          <a:lstStyle/>
          <a:p>
            <a:r>
              <a:rPr lang="es-ES_tradnl" dirty="0" smtClean="0"/>
              <a:t>Diagrama conceptual del SIACET</a:t>
            </a:r>
            <a:endParaRPr lang="es-ES" dirty="0" smtClean="0"/>
          </a:p>
        </p:txBody>
      </p:sp>
      <p:pic>
        <p:nvPicPr>
          <p:cNvPr id="30723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6013" y="2205038"/>
            <a:ext cx="7546975" cy="4103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3709821281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082" name="1 Grupo"/>
          <p:cNvGrpSpPr>
            <a:grpSpLocks/>
          </p:cNvGrpSpPr>
          <p:nvPr/>
        </p:nvGrpSpPr>
        <p:grpSpPr bwMode="auto">
          <a:xfrm>
            <a:off x="1222375" y="4941888"/>
            <a:ext cx="1204913" cy="1276350"/>
            <a:chOff x="363548" y="4782051"/>
            <a:chExt cx="1444426" cy="1631518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46137" name="3 CuadroTexto"/>
            <p:cNvSpPr txBox="1">
              <a:spLocks noChangeArrowheads="1"/>
            </p:cNvSpPr>
            <p:nvPr/>
          </p:nvSpPr>
          <p:spPr bwMode="auto">
            <a:xfrm>
              <a:off x="363548" y="4782051"/>
              <a:ext cx="305896" cy="1631518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700" dirty="0"/>
                <a:t>R</a:t>
              </a:r>
            </a:p>
            <a:p>
              <a:r>
                <a:rPr lang="es-CO" sz="700" dirty="0"/>
                <a:t>E</a:t>
              </a:r>
            </a:p>
            <a:p>
              <a:r>
                <a:rPr lang="es-CO" sz="700" dirty="0"/>
                <a:t>G</a:t>
              </a:r>
            </a:p>
            <a:p>
              <a:r>
                <a:rPr lang="es-CO" sz="700" dirty="0"/>
                <a:t>I</a:t>
              </a:r>
            </a:p>
            <a:p>
              <a:r>
                <a:rPr lang="es-CO" sz="700" dirty="0"/>
                <a:t>O</a:t>
              </a:r>
            </a:p>
            <a:p>
              <a:r>
                <a:rPr lang="es-CO" sz="700" dirty="0"/>
                <a:t>N</a:t>
              </a:r>
            </a:p>
            <a:p>
              <a:r>
                <a:rPr lang="es-CO" sz="700" dirty="0"/>
                <a:t>A</a:t>
              </a:r>
            </a:p>
            <a:p>
              <a:r>
                <a:rPr lang="es-CO" sz="700" dirty="0"/>
                <a:t>L</a:t>
              </a:r>
            </a:p>
            <a:p>
              <a:endParaRPr lang="es-CO" sz="700" dirty="0"/>
            </a:p>
            <a:p>
              <a:endParaRPr lang="es-CO" sz="700" dirty="0"/>
            </a:p>
            <a:p>
              <a:r>
                <a:rPr lang="es-CO" sz="700" dirty="0"/>
                <a:t>1</a:t>
              </a:r>
            </a:p>
          </p:txBody>
        </p:sp>
        <p:sp>
          <p:nvSpPr>
            <p:cNvPr id="46138" name="4 CuadroTexto"/>
            <p:cNvSpPr txBox="1">
              <a:spLocks noChangeArrowheads="1"/>
            </p:cNvSpPr>
            <p:nvPr/>
          </p:nvSpPr>
          <p:spPr bwMode="auto">
            <a:xfrm>
              <a:off x="648181" y="4782051"/>
              <a:ext cx="305896" cy="1631518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700"/>
                <a:t>R</a:t>
              </a:r>
            </a:p>
            <a:p>
              <a:r>
                <a:rPr lang="es-CO" sz="700"/>
                <a:t>E</a:t>
              </a:r>
            </a:p>
            <a:p>
              <a:r>
                <a:rPr lang="es-CO" sz="700"/>
                <a:t>G</a:t>
              </a:r>
            </a:p>
            <a:p>
              <a:r>
                <a:rPr lang="es-CO" sz="700"/>
                <a:t>I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N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L</a:t>
              </a:r>
            </a:p>
            <a:p>
              <a:endParaRPr lang="es-CO" sz="700"/>
            </a:p>
            <a:p>
              <a:endParaRPr lang="es-CO" sz="700"/>
            </a:p>
            <a:p>
              <a:r>
                <a:rPr lang="es-CO" sz="700"/>
                <a:t>2</a:t>
              </a:r>
            </a:p>
          </p:txBody>
        </p:sp>
        <p:sp>
          <p:nvSpPr>
            <p:cNvPr id="46139" name="5 CuadroTexto"/>
            <p:cNvSpPr txBox="1">
              <a:spLocks noChangeArrowheads="1"/>
            </p:cNvSpPr>
            <p:nvPr/>
          </p:nvSpPr>
          <p:spPr bwMode="auto">
            <a:xfrm>
              <a:off x="932814" y="4782051"/>
              <a:ext cx="305896" cy="1631518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700"/>
                <a:t>R</a:t>
              </a:r>
            </a:p>
            <a:p>
              <a:r>
                <a:rPr lang="es-CO" sz="700"/>
                <a:t>E</a:t>
              </a:r>
            </a:p>
            <a:p>
              <a:r>
                <a:rPr lang="es-CO" sz="700"/>
                <a:t>G</a:t>
              </a:r>
            </a:p>
            <a:p>
              <a:r>
                <a:rPr lang="es-CO" sz="700"/>
                <a:t>I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N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L</a:t>
              </a:r>
            </a:p>
            <a:p>
              <a:endParaRPr lang="es-CO" sz="700"/>
            </a:p>
            <a:p>
              <a:endParaRPr lang="es-CO" sz="700"/>
            </a:p>
            <a:p>
              <a:r>
                <a:rPr lang="es-CO" sz="700"/>
                <a:t>3</a:t>
              </a:r>
            </a:p>
          </p:txBody>
        </p:sp>
        <p:sp>
          <p:nvSpPr>
            <p:cNvPr id="46140" name="6 CuadroTexto"/>
            <p:cNvSpPr txBox="1">
              <a:spLocks noChangeArrowheads="1"/>
            </p:cNvSpPr>
            <p:nvPr/>
          </p:nvSpPr>
          <p:spPr bwMode="auto">
            <a:xfrm>
              <a:off x="1217447" y="4782051"/>
              <a:ext cx="305896" cy="1631518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700"/>
                <a:t>R</a:t>
              </a:r>
            </a:p>
            <a:p>
              <a:r>
                <a:rPr lang="es-CO" sz="700"/>
                <a:t>E</a:t>
              </a:r>
            </a:p>
            <a:p>
              <a:r>
                <a:rPr lang="es-CO" sz="700"/>
                <a:t>G</a:t>
              </a:r>
            </a:p>
            <a:p>
              <a:r>
                <a:rPr lang="es-CO" sz="700"/>
                <a:t>I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N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L</a:t>
              </a:r>
            </a:p>
            <a:p>
              <a:endParaRPr lang="es-CO" sz="700"/>
            </a:p>
            <a:p>
              <a:endParaRPr lang="es-CO" sz="700"/>
            </a:p>
            <a:p>
              <a:r>
                <a:rPr lang="es-CO" sz="700"/>
                <a:t>4</a:t>
              </a:r>
            </a:p>
          </p:txBody>
        </p:sp>
        <p:sp>
          <p:nvSpPr>
            <p:cNvPr id="46141" name="7 CuadroTexto"/>
            <p:cNvSpPr txBox="1">
              <a:spLocks noChangeArrowheads="1"/>
            </p:cNvSpPr>
            <p:nvPr/>
          </p:nvSpPr>
          <p:spPr bwMode="auto">
            <a:xfrm>
              <a:off x="1502078" y="4782051"/>
              <a:ext cx="305896" cy="1631518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700"/>
                <a:t>R</a:t>
              </a:r>
            </a:p>
            <a:p>
              <a:r>
                <a:rPr lang="es-CO" sz="700"/>
                <a:t>E</a:t>
              </a:r>
            </a:p>
            <a:p>
              <a:r>
                <a:rPr lang="es-CO" sz="700"/>
                <a:t>G</a:t>
              </a:r>
            </a:p>
            <a:p>
              <a:r>
                <a:rPr lang="es-CO" sz="700"/>
                <a:t>I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N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L</a:t>
              </a:r>
            </a:p>
            <a:p>
              <a:endParaRPr lang="es-CO" sz="700"/>
            </a:p>
            <a:p>
              <a:endParaRPr lang="es-CO" sz="700"/>
            </a:p>
            <a:p>
              <a:r>
                <a:rPr lang="es-CO" sz="700"/>
                <a:t>9</a:t>
              </a:r>
            </a:p>
          </p:txBody>
        </p:sp>
      </p:grpSp>
      <p:sp>
        <p:nvSpPr>
          <p:cNvPr id="46083" name="8 CuadroTexto"/>
          <p:cNvSpPr txBox="1">
            <a:spLocks noChangeArrowheads="1"/>
          </p:cNvSpPr>
          <p:nvPr/>
        </p:nvSpPr>
        <p:spPr bwMode="auto">
          <a:xfrm>
            <a:off x="4098925" y="1717675"/>
            <a:ext cx="1270000" cy="261938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xtLst/>
        </p:spPr>
        <p:txBody>
          <a:bodyPr wrap="none">
            <a:spAutoFit/>
          </a:bodyPr>
          <a:lstStyle>
            <a:lvl1pPr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s-CO" sz="1100" dirty="0"/>
              <a:t>RED NACIONAL</a:t>
            </a:r>
          </a:p>
        </p:txBody>
      </p:sp>
      <p:sp>
        <p:nvSpPr>
          <p:cNvPr id="46084" name="9 CuadroTexto"/>
          <p:cNvSpPr txBox="1">
            <a:spLocks noChangeArrowheads="1"/>
          </p:cNvSpPr>
          <p:nvPr/>
        </p:nvSpPr>
        <p:spPr bwMode="auto">
          <a:xfrm>
            <a:off x="6635750" y="2055813"/>
            <a:ext cx="1597025" cy="261937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xtLst/>
        </p:spPr>
        <p:txBody>
          <a:bodyPr wrap="none">
            <a:spAutoFit/>
          </a:bodyPr>
          <a:lstStyle>
            <a:lvl1pPr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s-CO" sz="1100"/>
              <a:t>COMITÉS TÉCNICOS</a:t>
            </a:r>
          </a:p>
        </p:txBody>
      </p:sp>
      <p:sp>
        <p:nvSpPr>
          <p:cNvPr id="14" name="13 CuadroTexto"/>
          <p:cNvSpPr txBox="1"/>
          <p:nvPr/>
        </p:nvSpPr>
        <p:spPr>
          <a:xfrm>
            <a:off x="1217613" y="3228975"/>
            <a:ext cx="1177925" cy="230188"/>
          </a:xfrm>
          <a:prstGeom prst="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s-CO" sz="900" dirty="0"/>
              <a:t>RED CARIBE</a:t>
            </a:r>
          </a:p>
        </p:txBody>
      </p:sp>
      <p:sp>
        <p:nvSpPr>
          <p:cNvPr id="46086" name="14 Rectángulo"/>
          <p:cNvSpPr>
            <a:spLocks noChangeArrowheads="1"/>
          </p:cNvSpPr>
          <p:nvPr/>
        </p:nvSpPr>
        <p:spPr bwMode="auto">
          <a:xfrm>
            <a:off x="1217613" y="3651250"/>
            <a:ext cx="1177925" cy="2301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CO" sz="900">
                <a:solidFill>
                  <a:srgbClr val="000000"/>
                </a:solidFill>
              </a:rPr>
              <a:t>PRESIDENTE</a:t>
            </a:r>
          </a:p>
        </p:txBody>
      </p:sp>
      <p:sp>
        <p:nvSpPr>
          <p:cNvPr id="46087" name="15 Rectángulo"/>
          <p:cNvSpPr>
            <a:spLocks noChangeArrowheads="1"/>
          </p:cNvSpPr>
          <p:nvPr/>
        </p:nvSpPr>
        <p:spPr bwMode="auto">
          <a:xfrm>
            <a:off x="1217613" y="3846513"/>
            <a:ext cx="1173162" cy="23177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CO" sz="900">
                <a:solidFill>
                  <a:srgbClr val="000000"/>
                </a:solidFill>
              </a:rPr>
              <a:t>SEC. TÉCNICA</a:t>
            </a:r>
          </a:p>
        </p:txBody>
      </p:sp>
      <p:cxnSp>
        <p:nvCxnSpPr>
          <p:cNvPr id="18" name="17 Conector angular"/>
          <p:cNvCxnSpPr>
            <a:stCxn id="46083" idx="2"/>
            <a:endCxn id="14" idx="0"/>
          </p:cNvCxnSpPr>
          <p:nvPr/>
        </p:nvCxnSpPr>
        <p:spPr>
          <a:xfrm rot="5400000">
            <a:off x="2645569" y="1140619"/>
            <a:ext cx="1249362" cy="2927350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61 Conector recto"/>
          <p:cNvCxnSpPr/>
          <p:nvPr/>
        </p:nvCxnSpPr>
        <p:spPr>
          <a:xfrm flipH="1" flipV="1">
            <a:off x="4733925" y="2282825"/>
            <a:ext cx="1901825" cy="11113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090" name="70 Rectángulo"/>
          <p:cNvSpPr>
            <a:spLocks noChangeArrowheads="1"/>
          </p:cNvSpPr>
          <p:nvPr/>
        </p:nvSpPr>
        <p:spPr bwMode="auto">
          <a:xfrm>
            <a:off x="1200150" y="4165600"/>
            <a:ext cx="1173163" cy="3698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CO" sz="900">
                <a:solidFill>
                  <a:srgbClr val="000000"/>
                </a:solidFill>
              </a:rPr>
              <a:t>Eq. Técn. Proyectos</a:t>
            </a:r>
          </a:p>
        </p:txBody>
      </p:sp>
      <p:cxnSp>
        <p:nvCxnSpPr>
          <p:cNvPr id="23" name="22 Conector recto de flecha"/>
          <p:cNvCxnSpPr>
            <a:stCxn id="46087" idx="2"/>
          </p:cNvCxnSpPr>
          <p:nvPr/>
        </p:nvCxnSpPr>
        <p:spPr>
          <a:xfrm flipH="1">
            <a:off x="1787525" y="4078288"/>
            <a:ext cx="15875" cy="22066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24 Conector angular"/>
          <p:cNvCxnSpPr>
            <a:stCxn id="46090" idx="2"/>
          </p:cNvCxnSpPr>
          <p:nvPr/>
        </p:nvCxnSpPr>
        <p:spPr>
          <a:xfrm rot="5400000">
            <a:off x="1518444" y="4366419"/>
            <a:ext cx="100012" cy="438150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28 Conector angular"/>
          <p:cNvCxnSpPr>
            <a:stCxn id="46090" idx="2"/>
          </p:cNvCxnSpPr>
          <p:nvPr/>
        </p:nvCxnSpPr>
        <p:spPr>
          <a:xfrm rot="16200000" flipH="1">
            <a:off x="1993901" y="4329112"/>
            <a:ext cx="100012" cy="512763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30 Conector angular"/>
          <p:cNvCxnSpPr>
            <a:stCxn id="46090" idx="2"/>
          </p:cNvCxnSpPr>
          <p:nvPr/>
        </p:nvCxnSpPr>
        <p:spPr>
          <a:xfrm rot="5400000">
            <a:off x="1637507" y="4485481"/>
            <a:ext cx="100012" cy="200025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32 Conector angular"/>
          <p:cNvCxnSpPr>
            <a:stCxn id="46090" idx="2"/>
          </p:cNvCxnSpPr>
          <p:nvPr/>
        </p:nvCxnSpPr>
        <p:spPr>
          <a:xfrm rot="16200000" flipH="1">
            <a:off x="1874838" y="4448175"/>
            <a:ext cx="100012" cy="274638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43 Conector angular"/>
          <p:cNvCxnSpPr>
            <a:stCxn id="46090" idx="2"/>
          </p:cNvCxnSpPr>
          <p:nvPr/>
        </p:nvCxnSpPr>
        <p:spPr>
          <a:xfrm rot="16200000" flipH="1">
            <a:off x="1756569" y="4566444"/>
            <a:ext cx="100012" cy="38100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2" name="121 CuadroTexto"/>
          <p:cNvSpPr txBox="1"/>
          <p:nvPr/>
        </p:nvSpPr>
        <p:spPr>
          <a:xfrm>
            <a:off x="7112000" y="3240088"/>
            <a:ext cx="1177925" cy="230187"/>
          </a:xfrm>
          <a:prstGeom prst="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s-CO" sz="900" dirty="0"/>
              <a:t>RED ANDINA</a:t>
            </a:r>
          </a:p>
        </p:txBody>
      </p:sp>
      <p:sp>
        <p:nvSpPr>
          <p:cNvPr id="46098" name="122 Rectángulo"/>
          <p:cNvSpPr>
            <a:spLocks noChangeArrowheads="1"/>
          </p:cNvSpPr>
          <p:nvPr/>
        </p:nvSpPr>
        <p:spPr bwMode="auto">
          <a:xfrm>
            <a:off x="7112000" y="3662363"/>
            <a:ext cx="1177925" cy="23177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CO" sz="900">
                <a:solidFill>
                  <a:srgbClr val="000000"/>
                </a:solidFill>
              </a:rPr>
              <a:t>PRESIDENTE</a:t>
            </a:r>
          </a:p>
        </p:txBody>
      </p:sp>
      <p:sp>
        <p:nvSpPr>
          <p:cNvPr id="46099" name="123 Rectángulo"/>
          <p:cNvSpPr>
            <a:spLocks noChangeArrowheads="1"/>
          </p:cNvSpPr>
          <p:nvPr/>
        </p:nvSpPr>
        <p:spPr bwMode="auto">
          <a:xfrm>
            <a:off x="7112000" y="3859213"/>
            <a:ext cx="1173163" cy="23018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CO" sz="900">
                <a:solidFill>
                  <a:srgbClr val="000000"/>
                </a:solidFill>
              </a:rPr>
              <a:t>SEC. TÉCNICA</a:t>
            </a:r>
          </a:p>
        </p:txBody>
      </p:sp>
      <p:sp>
        <p:nvSpPr>
          <p:cNvPr id="46100" name="126 Rectángulo"/>
          <p:cNvSpPr>
            <a:spLocks noChangeArrowheads="1"/>
          </p:cNvSpPr>
          <p:nvPr/>
        </p:nvSpPr>
        <p:spPr bwMode="auto">
          <a:xfrm>
            <a:off x="7094538" y="4178300"/>
            <a:ext cx="1173162" cy="3683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CO" sz="900">
                <a:solidFill>
                  <a:srgbClr val="000000"/>
                </a:solidFill>
              </a:rPr>
              <a:t>Eq. Técn. Proyectos</a:t>
            </a:r>
          </a:p>
        </p:txBody>
      </p:sp>
      <p:cxnSp>
        <p:nvCxnSpPr>
          <p:cNvPr id="128" name="127 Conector recto de flecha"/>
          <p:cNvCxnSpPr>
            <a:stCxn id="46099" idx="2"/>
          </p:cNvCxnSpPr>
          <p:nvPr/>
        </p:nvCxnSpPr>
        <p:spPr>
          <a:xfrm flipH="1">
            <a:off x="7681913" y="4089400"/>
            <a:ext cx="15875" cy="22066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128 Conector angular"/>
          <p:cNvCxnSpPr>
            <a:stCxn id="46100" idx="2"/>
          </p:cNvCxnSpPr>
          <p:nvPr/>
        </p:nvCxnSpPr>
        <p:spPr>
          <a:xfrm rot="5400000">
            <a:off x="7412831" y="4377532"/>
            <a:ext cx="100013" cy="438150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129 Conector angular"/>
          <p:cNvCxnSpPr>
            <a:stCxn id="46100" idx="2"/>
          </p:cNvCxnSpPr>
          <p:nvPr/>
        </p:nvCxnSpPr>
        <p:spPr>
          <a:xfrm rot="16200000" flipH="1">
            <a:off x="7888287" y="4340226"/>
            <a:ext cx="100013" cy="512762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130 Conector angular"/>
          <p:cNvCxnSpPr>
            <a:stCxn id="46100" idx="2"/>
          </p:cNvCxnSpPr>
          <p:nvPr/>
        </p:nvCxnSpPr>
        <p:spPr>
          <a:xfrm rot="5400000">
            <a:off x="7531894" y="4496594"/>
            <a:ext cx="100013" cy="200025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131 Conector angular"/>
          <p:cNvCxnSpPr>
            <a:stCxn id="46100" idx="2"/>
          </p:cNvCxnSpPr>
          <p:nvPr/>
        </p:nvCxnSpPr>
        <p:spPr>
          <a:xfrm rot="16200000" flipH="1">
            <a:off x="7769225" y="4459288"/>
            <a:ext cx="100013" cy="274637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132 Conector angular"/>
          <p:cNvCxnSpPr>
            <a:stCxn id="46100" idx="2"/>
          </p:cNvCxnSpPr>
          <p:nvPr/>
        </p:nvCxnSpPr>
        <p:spPr>
          <a:xfrm rot="16200000" flipH="1">
            <a:off x="7650956" y="4577557"/>
            <a:ext cx="100013" cy="38100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45 Conector angular"/>
          <p:cNvCxnSpPr/>
          <p:nvPr/>
        </p:nvCxnSpPr>
        <p:spPr>
          <a:xfrm rot="5400000">
            <a:off x="4178300" y="2682876"/>
            <a:ext cx="1112837" cy="11112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56 Conector angular"/>
          <p:cNvCxnSpPr>
            <a:stCxn id="46083" idx="2"/>
            <a:endCxn id="122" idx="0"/>
          </p:cNvCxnSpPr>
          <p:nvPr/>
        </p:nvCxnSpPr>
        <p:spPr>
          <a:xfrm rot="16200000" flipH="1">
            <a:off x="5587206" y="1126332"/>
            <a:ext cx="1260475" cy="2967038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109" name="58 CuadroTexto"/>
          <p:cNvSpPr txBox="1">
            <a:spLocks noChangeArrowheads="1"/>
          </p:cNvSpPr>
          <p:nvPr/>
        </p:nvSpPr>
        <p:spPr bwMode="auto">
          <a:xfrm>
            <a:off x="2835275" y="3121025"/>
            <a:ext cx="492125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s-CO"/>
              <a:t>…</a:t>
            </a:r>
          </a:p>
        </p:txBody>
      </p:sp>
      <p:sp>
        <p:nvSpPr>
          <p:cNvPr id="46110" name="133 CuadroTexto"/>
          <p:cNvSpPr txBox="1">
            <a:spLocks noChangeArrowheads="1"/>
          </p:cNvSpPr>
          <p:nvPr/>
        </p:nvSpPr>
        <p:spPr bwMode="auto">
          <a:xfrm>
            <a:off x="6042025" y="3127375"/>
            <a:ext cx="493713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s-CO"/>
              <a:t>…</a:t>
            </a:r>
          </a:p>
        </p:txBody>
      </p:sp>
      <p:sp>
        <p:nvSpPr>
          <p:cNvPr id="79" name="78 CuadroTexto"/>
          <p:cNvSpPr txBox="1"/>
          <p:nvPr/>
        </p:nvSpPr>
        <p:spPr>
          <a:xfrm>
            <a:off x="4160838" y="3240088"/>
            <a:ext cx="1179512" cy="230187"/>
          </a:xfrm>
          <a:prstGeom prst="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s-CO" sz="900" dirty="0"/>
              <a:t>RED PACÍFICO</a:t>
            </a:r>
          </a:p>
        </p:txBody>
      </p:sp>
      <p:sp>
        <p:nvSpPr>
          <p:cNvPr id="46112" name="79 Rectángulo"/>
          <p:cNvSpPr>
            <a:spLocks noChangeArrowheads="1"/>
          </p:cNvSpPr>
          <p:nvPr/>
        </p:nvSpPr>
        <p:spPr bwMode="auto">
          <a:xfrm>
            <a:off x="4160838" y="3662363"/>
            <a:ext cx="1179512" cy="23177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CO" sz="900">
                <a:solidFill>
                  <a:srgbClr val="000000"/>
                </a:solidFill>
              </a:rPr>
              <a:t>PRESIDENTE</a:t>
            </a:r>
          </a:p>
        </p:txBody>
      </p:sp>
      <p:sp>
        <p:nvSpPr>
          <p:cNvPr id="46113" name="80 Rectángulo"/>
          <p:cNvSpPr>
            <a:spLocks noChangeArrowheads="1"/>
          </p:cNvSpPr>
          <p:nvPr/>
        </p:nvSpPr>
        <p:spPr bwMode="auto">
          <a:xfrm>
            <a:off x="4160838" y="3859213"/>
            <a:ext cx="1174750" cy="23018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CO" sz="900">
                <a:solidFill>
                  <a:srgbClr val="000000"/>
                </a:solidFill>
              </a:rPr>
              <a:t>SEC. TÉCNICA</a:t>
            </a:r>
          </a:p>
        </p:txBody>
      </p:sp>
      <p:sp>
        <p:nvSpPr>
          <p:cNvPr id="46114" name="83 Rectángulo"/>
          <p:cNvSpPr>
            <a:spLocks noChangeArrowheads="1"/>
          </p:cNvSpPr>
          <p:nvPr/>
        </p:nvSpPr>
        <p:spPr bwMode="auto">
          <a:xfrm>
            <a:off x="4144963" y="4178300"/>
            <a:ext cx="1173162" cy="368300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CO" sz="900">
                <a:solidFill>
                  <a:srgbClr val="000000"/>
                </a:solidFill>
              </a:rPr>
              <a:t>Eq. Técn. Proyectos</a:t>
            </a:r>
          </a:p>
        </p:txBody>
      </p:sp>
      <p:cxnSp>
        <p:nvCxnSpPr>
          <p:cNvPr id="85" name="84 Conector recto de flecha"/>
          <p:cNvCxnSpPr>
            <a:stCxn id="46113" idx="2"/>
          </p:cNvCxnSpPr>
          <p:nvPr/>
        </p:nvCxnSpPr>
        <p:spPr>
          <a:xfrm flipH="1">
            <a:off x="4730750" y="4089400"/>
            <a:ext cx="17463" cy="22066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85 Conector angular"/>
          <p:cNvCxnSpPr>
            <a:stCxn id="46114" idx="2"/>
          </p:cNvCxnSpPr>
          <p:nvPr/>
        </p:nvCxnSpPr>
        <p:spPr>
          <a:xfrm rot="5400000">
            <a:off x="4462462" y="4378326"/>
            <a:ext cx="100013" cy="436562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86 Conector angular"/>
          <p:cNvCxnSpPr>
            <a:stCxn id="46114" idx="2"/>
          </p:cNvCxnSpPr>
          <p:nvPr/>
        </p:nvCxnSpPr>
        <p:spPr>
          <a:xfrm rot="16200000" flipH="1">
            <a:off x="4937918" y="4339432"/>
            <a:ext cx="100013" cy="514350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87 Conector angular"/>
          <p:cNvCxnSpPr>
            <a:stCxn id="46114" idx="2"/>
          </p:cNvCxnSpPr>
          <p:nvPr/>
        </p:nvCxnSpPr>
        <p:spPr>
          <a:xfrm rot="5400000">
            <a:off x="4581525" y="4497388"/>
            <a:ext cx="100013" cy="198437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88 Conector angular"/>
          <p:cNvCxnSpPr>
            <a:stCxn id="46114" idx="2"/>
          </p:cNvCxnSpPr>
          <p:nvPr/>
        </p:nvCxnSpPr>
        <p:spPr>
          <a:xfrm rot="16200000" flipH="1">
            <a:off x="4818856" y="4458494"/>
            <a:ext cx="100013" cy="276225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89 Conector angular"/>
          <p:cNvCxnSpPr>
            <a:stCxn id="46114" idx="2"/>
          </p:cNvCxnSpPr>
          <p:nvPr/>
        </p:nvCxnSpPr>
        <p:spPr>
          <a:xfrm rot="16200000" flipH="1">
            <a:off x="4699793" y="4577557"/>
            <a:ext cx="100013" cy="38100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1 Título"/>
          <p:cNvSpPr txBox="1">
            <a:spLocks/>
          </p:cNvSpPr>
          <p:nvPr/>
        </p:nvSpPr>
        <p:spPr>
          <a:xfrm>
            <a:off x="5308584" y="332656"/>
            <a:ext cx="3439880" cy="720750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pPr algn="ctr" eaLnBrk="1" fontAlgn="auto" hangingPunct="1">
              <a:spcAft>
                <a:spcPts val="0"/>
              </a:spcAft>
              <a:defRPr/>
            </a:pPr>
            <a:r>
              <a:rPr lang="es-ES_tradnl" dirty="0" smtClean="0">
                <a:solidFill>
                  <a:srgbClr val="C00000"/>
                </a:solidFill>
                <a:latin typeface="+mj-lt"/>
                <a:ea typeface="+mj-ea"/>
                <a:cs typeface="+mj-cs"/>
              </a:rPr>
              <a:t>REDES REGIONALES</a:t>
            </a:r>
            <a:endParaRPr lang="es-ES" dirty="0">
              <a:solidFill>
                <a:srgbClr val="C00000"/>
              </a:solidFill>
              <a:latin typeface="+mj-lt"/>
              <a:ea typeface="+mj-ea"/>
              <a:cs typeface="+mj-cs"/>
            </a:endParaRPr>
          </a:p>
        </p:txBody>
      </p:sp>
      <p:grpSp>
        <p:nvGrpSpPr>
          <p:cNvPr id="46122" name="1 Grupo"/>
          <p:cNvGrpSpPr>
            <a:grpSpLocks/>
          </p:cNvGrpSpPr>
          <p:nvPr/>
        </p:nvGrpSpPr>
        <p:grpSpPr bwMode="auto">
          <a:xfrm>
            <a:off x="4159250" y="4941888"/>
            <a:ext cx="1204913" cy="1276350"/>
            <a:chOff x="363548" y="4782051"/>
            <a:chExt cx="1444426" cy="1631518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46132" name="3 CuadroTexto"/>
            <p:cNvSpPr txBox="1">
              <a:spLocks noChangeArrowheads="1"/>
            </p:cNvSpPr>
            <p:nvPr/>
          </p:nvSpPr>
          <p:spPr bwMode="auto">
            <a:xfrm>
              <a:off x="363548" y="4782051"/>
              <a:ext cx="305896" cy="1631518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700"/>
                <a:t>R</a:t>
              </a:r>
            </a:p>
            <a:p>
              <a:r>
                <a:rPr lang="es-CO" sz="700"/>
                <a:t>E</a:t>
              </a:r>
            </a:p>
            <a:p>
              <a:r>
                <a:rPr lang="es-CO" sz="700"/>
                <a:t>G</a:t>
              </a:r>
            </a:p>
            <a:p>
              <a:r>
                <a:rPr lang="es-CO" sz="700"/>
                <a:t>I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N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L</a:t>
              </a:r>
            </a:p>
            <a:p>
              <a:endParaRPr lang="es-CO" sz="700"/>
            </a:p>
            <a:p>
              <a:endParaRPr lang="es-CO" sz="700"/>
            </a:p>
            <a:p>
              <a:r>
                <a:rPr lang="es-CO" sz="700"/>
                <a:t>1</a:t>
              </a:r>
            </a:p>
          </p:txBody>
        </p:sp>
        <p:sp>
          <p:nvSpPr>
            <p:cNvPr id="46133" name="4 CuadroTexto"/>
            <p:cNvSpPr txBox="1">
              <a:spLocks noChangeArrowheads="1"/>
            </p:cNvSpPr>
            <p:nvPr/>
          </p:nvSpPr>
          <p:spPr bwMode="auto">
            <a:xfrm>
              <a:off x="648181" y="4782051"/>
              <a:ext cx="305896" cy="1631518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700"/>
                <a:t>R</a:t>
              </a:r>
            </a:p>
            <a:p>
              <a:r>
                <a:rPr lang="es-CO" sz="700"/>
                <a:t>E</a:t>
              </a:r>
            </a:p>
            <a:p>
              <a:r>
                <a:rPr lang="es-CO" sz="700"/>
                <a:t>G</a:t>
              </a:r>
            </a:p>
            <a:p>
              <a:r>
                <a:rPr lang="es-CO" sz="700"/>
                <a:t>I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N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L</a:t>
              </a:r>
            </a:p>
            <a:p>
              <a:endParaRPr lang="es-CO" sz="700"/>
            </a:p>
            <a:p>
              <a:endParaRPr lang="es-CO" sz="700"/>
            </a:p>
            <a:p>
              <a:r>
                <a:rPr lang="es-CO" sz="700"/>
                <a:t>2</a:t>
              </a:r>
            </a:p>
          </p:txBody>
        </p:sp>
        <p:sp>
          <p:nvSpPr>
            <p:cNvPr id="46134" name="5 CuadroTexto"/>
            <p:cNvSpPr txBox="1">
              <a:spLocks noChangeArrowheads="1"/>
            </p:cNvSpPr>
            <p:nvPr/>
          </p:nvSpPr>
          <p:spPr bwMode="auto">
            <a:xfrm>
              <a:off x="932814" y="4782051"/>
              <a:ext cx="305896" cy="1631518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700"/>
                <a:t>R</a:t>
              </a:r>
            </a:p>
            <a:p>
              <a:r>
                <a:rPr lang="es-CO" sz="700"/>
                <a:t>E</a:t>
              </a:r>
            </a:p>
            <a:p>
              <a:r>
                <a:rPr lang="es-CO" sz="700"/>
                <a:t>G</a:t>
              </a:r>
            </a:p>
            <a:p>
              <a:r>
                <a:rPr lang="es-CO" sz="700"/>
                <a:t>I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N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L</a:t>
              </a:r>
            </a:p>
            <a:p>
              <a:endParaRPr lang="es-CO" sz="700"/>
            </a:p>
            <a:p>
              <a:endParaRPr lang="es-CO" sz="700"/>
            </a:p>
            <a:p>
              <a:r>
                <a:rPr lang="es-CO" sz="700"/>
                <a:t>3</a:t>
              </a:r>
            </a:p>
          </p:txBody>
        </p:sp>
        <p:sp>
          <p:nvSpPr>
            <p:cNvPr id="46135" name="6 CuadroTexto"/>
            <p:cNvSpPr txBox="1">
              <a:spLocks noChangeArrowheads="1"/>
            </p:cNvSpPr>
            <p:nvPr/>
          </p:nvSpPr>
          <p:spPr bwMode="auto">
            <a:xfrm>
              <a:off x="1217447" y="4782051"/>
              <a:ext cx="305896" cy="1631518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700"/>
                <a:t>R</a:t>
              </a:r>
            </a:p>
            <a:p>
              <a:r>
                <a:rPr lang="es-CO" sz="700"/>
                <a:t>E</a:t>
              </a:r>
            </a:p>
            <a:p>
              <a:r>
                <a:rPr lang="es-CO" sz="700"/>
                <a:t>G</a:t>
              </a:r>
            </a:p>
            <a:p>
              <a:r>
                <a:rPr lang="es-CO" sz="700"/>
                <a:t>I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N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L</a:t>
              </a:r>
            </a:p>
            <a:p>
              <a:endParaRPr lang="es-CO" sz="700"/>
            </a:p>
            <a:p>
              <a:endParaRPr lang="es-CO" sz="700"/>
            </a:p>
            <a:p>
              <a:r>
                <a:rPr lang="es-CO" sz="700"/>
                <a:t>4</a:t>
              </a:r>
            </a:p>
          </p:txBody>
        </p:sp>
        <p:sp>
          <p:nvSpPr>
            <p:cNvPr id="46136" name="7 CuadroTexto"/>
            <p:cNvSpPr txBox="1">
              <a:spLocks noChangeArrowheads="1"/>
            </p:cNvSpPr>
            <p:nvPr/>
          </p:nvSpPr>
          <p:spPr bwMode="auto">
            <a:xfrm>
              <a:off x="1502078" y="4782051"/>
              <a:ext cx="305896" cy="1631518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700"/>
                <a:t>R</a:t>
              </a:r>
            </a:p>
            <a:p>
              <a:r>
                <a:rPr lang="es-CO" sz="700"/>
                <a:t>E</a:t>
              </a:r>
            </a:p>
            <a:p>
              <a:r>
                <a:rPr lang="es-CO" sz="700"/>
                <a:t>G</a:t>
              </a:r>
            </a:p>
            <a:p>
              <a:r>
                <a:rPr lang="es-CO" sz="700"/>
                <a:t>I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N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L</a:t>
              </a:r>
            </a:p>
            <a:p>
              <a:endParaRPr lang="es-CO" sz="700"/>
            </a:p>
            <a:p>
              <a:endParaRPr lang="es-CO" sz="700"/>
            </a:p>
            <a:p>
              <a:r>
                <a:rPr lang="es-CO" sz="700"/>
                <a:t>9</a:t>
              </a:r>
            </a:p>
          </p:txBody>
        </p:sp>
      </p:grpSp>
      <p:grpSp>
        <p:nvGrpSpPr>
          <p:cNvPr id="46123" name="1 Grupo"/>
          <p:cNvGrpSpPr>
            <a:grpSpLocks/>
          </p:cNvGrpSpPr>
          <p:nvPr/>
        </p:nvGrpSpPr>
        <p:grpSpPr bwMode="auto">
          <a:xfrm>
            <a:off x="7183438" y="4941888"/>
            <a:ext cx="1204912" cy="1276350"/>
            <a:chOff x="363548" y="4782051"/>
            <a:chExt cx="1444426" cy="1631518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46127" name="3 CuadroTexto"/>
            <p:cNvSpPr txBox="1">
              <a:spLocks noChangeArrowheads="1"/>
            </p:cNvSpPr>
            <p:nvPr/>
          </p:nvSpPr>
          <p:spPr bwMode="auto">
            <a:xfrm>
              <a:off x="363548" y="4782051"/>
              <a:ext cx="305896" cy="1631518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700"/>
                <a:t>R</a:t>
              </a:r>
            </a:p>
            <a:p>
              <a:r>
                <a:rPr lang="es-CO" sz="700"/>
                <a:t>E</a:t>
              </a:r>
            </a:p>
            <a:p>
              <a:r>
                <a:rPr lang="es-CO" sz="700"/>
                <a:t>G</a:t>
              </a:r>
            </a:p>
            <a:p>
              <a:r>
                <a:rPr lang="es-CO" sz="700"/>
                <a:t>I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N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L</a:t>
              </a:r>
            </a:p>
            <a:p>
              <a:endParaRPr lang="es-CO" sz="700"/>
            </a:p>
            <a:p>
              <a:endParaRPr lang="es-CO" sz="700"/>
            </a:p>
            <a:p>
              <a:r>
                <a:rPr lang="es-CO" sz="700"/>
                <a:t>1</a:t>
              </a:r>
            </a:p>
          </p:txBody>
        </p:sp>
        <p:sp>
          <p:nvSpPr>
            <p:cNvPr id="46128" name="4 CuadroTexto"/>
            <p:cNvSpPr txBox="1">
              <a:spLocks noChangeArrowheads="1"/>
            </p:cNvSpPr>
            <p:nvPr/>
          </p:nvSpPr>
          <p:spPr bwMode="auto">
            <a:xfrm>
              <a:off x="648181" y="4782051"/>
              <a:ext cx="305896" cy="1631518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700"/>
                <a:t>R</a:t>
              </a:r>
            </a:p>
            <a:p>
              <a:r>
                <a:rPr lang="es-CO" sz="700"/>
                <a:t>E</a:t>
              </a:r>
            </a:p>
            <a:p>
              <a:r>
                <a:rPr lang="es-CO" sz="700"/>
                <a:t>G</a:t>
              </a:r>
            </a:p>
            <a:p>
              <a:r>
                <a:rPr lang="es-CO" sz="700"/>
                <a:t>I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N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L</a:t>
              </a:r>
            </a:p>
            <a:p>
              <a:endParaRPr lang="es-CO" sz="700"/>
            </a:p>
            <a:p>
              <a:endParaRPr lang="es-CO" sz="700"/>
            </a:p>
            <a:p>
              <a:r>
                <a:rPr lang="es-CO" sz="700"/>
                <a:t>2</a:t>
              </a:r>
            </a:p>
          </p:txBody>
        </p:sp>
        <p:sp>
          <p:nvSpPr>
            <p:cNvPr id="46129" name="5 CuadroTexto"/>
            <p:cNvSpPr txBox="1">
              <a:spLocks noChangeArrowheads="1"/>
            </p:cNvSpPr>
            <p:nvPr/>
          </p:nvSpPr>
          <p:spPr bwMode="auto">
            <a:xfrm>
              <a:off x="932814" y="4782051"/>
              <a:ext cx="305896" cy="1631518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700"/>
                <a:t>R</a:t>
              </a:r>
            </a:p>
            <a:p>
              <a:r>
                <a:rPr lang="es-CO" sz="700"/>
                <a:t>E</a:t>
              </a:r>
            </a:p>
            <a:p>
              <a:r>
                <a:rPr lang="es-CO" sz="700"/>
                <a:t>G</a:t>
              </a:r>
            </a:p>
            <a:p>
              <a:r>
                <a:rPr lang="es-CO" sz="700"/>
                <a:t>I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N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L</a:t>
              </a:r>
            </a:p>
            <a:p>
              <a:endParaRPr lang="es-CO" sz="700"/>
            </a:p>
            <a:p>
              <a:endParaRPr lang="es-CO" sz="700"/>
            </a:p>
            <a:p>
              <a:r>
                <a:rPr lang="es-CO" sz="700"/>
                <a:t>3</a:t>
              </a:r>
            </a:p>
          </p:txBody>
        </p:sp>
        <p:sp>
          <p:nvSpPr>
            <p:cNvPr id="46130" name="6 CuadroTexto"/>
            <p:cNvSpPr txBox="1">
              <a:spLocks noChangeArrowheads="1"/>
            </p:cNvSpPr>
            <p:nvPr/>
          </p:nvSpPr>
          <p:spPr bwMode="auto">
            <a:xfrm>
              <a:off x="1217447" y="4782051"/>
              <a:ext cx="305896" cy="1631518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700"/>
                <a:t>R</a:t>
              </a:r>
            </a:p>
            <a:p>
              <a:r>
                <a:rPr lang="es-CO" sz="700"/>
                <a:t>E</a:t>
              </a:r>
            </a:p>
            <a:p>
              <a:r>
                <a:rPr lang="es-CO" sz="700"/>
                <a:t>G</a:t>
              </a:r>
            </a:p>
            <a:p>
              <a:r>
                <a:rPr lang="es-CO" sz="700"/>
                <a:t>I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N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L</a:t>
              </a:r>
            </a:p>
            <a:p>
              <a:endParaRPr lang="es-CO" sz="700"/>
            </a:p>
            <a:p>
              <a:endParaRPr lang="es-CO" sz="700"/>
            </a:p>
            <a:p>
              <a:r>
                <a:rPr lang="es-CO" sz="700"/>
                <a:t>4</a:t>
              </a:r>
            </a:p>
          </p:txBody>
        </p:sp>
        <p:sp>
          <p:nvSpPr>
            <p:cNvPr id="46131" name="7 CuadroTexto"/>
            <p:cNvSpPr txBox="1">
              <a:spLocks noChangeArrowheads="1"/>
            </p:cNvSpPr>
            <p:nvPr/>
          </p:nvSpPr>
          <p:spPr bwMode="auto">
            <a:xfrm>
              <a:off x="1502078" y="4782051"/>
              <a:ext cx="305896" cy="1631518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700"/>
                <a:t>R</a:t>
              </a:r>
            </a:p>
            <a:p>
              <a:r>
                <a:rPr lang="es-CO" sz="700"/>
                <a:t>E</a:t>
              </a:r>
            </a:p>
            <a:p>
              <a:r>
                <a:rPr lang="es-CO" sz="700"/>
                <a:t>G</a:t>
              </a:r>
            </a:p>
            <a:p>
              <a:r>
                <a:rPr lang="es-CO" sz="700"/>
                <a:t>I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N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L</a:t>
              </a:r>
            </a:p>
            <a:p>
              <a:endParaRPr lang="es-CO" sz="700"/>
            </a:p>
            <a:p>
              <a:endParaRPr lang="es-CO" sz="700"/>
            </a:p>
            <a:p>
              <a:r>
                <a:rPr lang="es-CO" sz="700"/>
                <a:t>9</a:t>
              </a:r>
            </a:p>
          </p:txBody>
        </p:sp>
      </p:grpSp>
      <p:cxnSp>
        <p:nvCxnSpPr>
          <p:cNvPr id="3" name="2 Conector recto de flecha"/>
          <p:cNvCxnSpPr/>
          <p:nvPr/>
        </p:nvCxnSpPr>
        <p:spPr>
          <a:xfrm flipH="1">
            <a:off x="1785938" y="4581525"/>
            <a:ext cx="1587" cy="36036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77 Conector recto de flecha"/>
          <p:cNvCxnSpPr>
            <a:endCxn id="46134" idx="0"/>
          </p:cNvCxnSpPr>
          <p:nvPr/>
        </p:nvCxnSpPr>
        <p:spPr>
          <a:xfrm>
            <a:off x="4749800" y="4581525"/>
            <a:ext cx="11113" cy="36036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79 Conector recto de flecha"/>
          <p:cNvCxnSpPr>
            <a:endCxn id="46129" idx="0"/>
          </p:cNvCxnSpPr>
          <p:nvPr/>
        </p:nvCxnSpPr>
        <p:spPr>
          <a:xfrm>
            <a:off x="7773988" y="4581525"/>
            <a:ext cx="12700" cy="36036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1 Rectángulo"/>
          <p:cNvSpPr/>
          <p:nvPr/>
        </p:nvSpPr>
        <p:spPr>
          <a:xfrm>
            <a:off x="-36512" y="1287115"/>
            <a:ext cx="3729947" cy="12003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>
            <a:spAutoFit/>
          </a:bodyPr>
          <a:lstStyle/>
          <a:p>
            <a:pPr algn="ctr"/>
            <a:r>
              <a:rPr lang="es-CO" sz="1200" dirty="0" smtClean="0"/>
              <a:t>PROPOSITO</a:t>
            </a:r>
          </a:p>
          <a:p>
            <a:pPr algn="just"/>
            <a:r>
              <a:rPr lang="es-CO" sz="1200" dirty="0" smtClean="0"/>
              <a:t>Articular  </a:t>
            </a:r>
            <a:r>
              <a:rPr lang="es-CO" sz="1200" dirty="0"/>
              <a:t>y coordinar esfuerzos para  contribuir  al desarrollo regional, ofreciendo ET y FPI  pertinente y de calidad,   coherentes con las políticas y estrategias de los planes de Desarrollo </a:t>
            </a:r>
            <a:r>
              <a:rPr lang="es-CO" sz="1200" dirty="0" smtClean="0"/>
              <a:t>Regional.</a:t>
            </a:r>
            <a:endParaRPr lang="es-CO" sz="1200" dirty="0"/>
          </a:p>
        </p:txBody>
      </p:sp>
      <p:pic>
        <p:nvPicPr>
          <p:cNvPr id="64" name="0 Imagen"/>
          <p:cNvPicPr/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8308" y="908720"/>
            <a:ext cx="1594211" cy="1126541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3689959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914" name="1 Grupo"/>
          <p:cNvGrpSpPr>
            <a:grpSpLocks/>
          </p:cNvGrpSpPr>
          <p:nvPr/>
        </p:nvGrpSpPr>
        <p:grpSpPr bwMode="auto">
          <a:xfrm>
            <a:off x="489769" y="4696420"/>
            <a:ext cx="1204913" cy="1601788"/>
            <a:chOff x="363548" y="4782051"/>
            <a:chExt cx="1444353" cy="2043713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38977" name="3 CuadroTexto"/>
            <p:cNvSpPr txBox="1">
              <a:spLocks noChangeArrowheads="1"/>
            </p:cNvSpPr>
            <p:nvPr/>
          </p:nvSpPr>
          <p:spPr bwMode="auto">
            <a:xfrm>
              <a:off x="363548" y="4782051"/>
              <a:ext cx="305823" cy="2043713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700"/>
                <a:t>N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D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S</a:t>
              </a:r>
            </a:p>
            <a:p>
              <a:endParaRPr lang="es-CO" sz="700"/>
            </a:p>
            <a:p>
              <a:r>
                <a:rPr lang="es-CO" sz="700"/>
                <a:t>S</a:t>
              </a:r>
            </a:p>
            <a:p>
              <a:r>
                <a:rPr lang="es-CO" sz="700"/>
                <a:t>U</a:t>
              </a:r>
            </a:p>
            <a:p>
              <a:r>
                <a:rPr lang="es-CO" sz="700"/>
                <a:t>B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R</a:t>
              </a:r>
            </a:p>
            <a:p>
              <a:r>
                <a:rPr lang="es-CO" sz="700"/>
                <a:t>E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S</a:t>
              </a:r>
            </a:p>
          </p:txBody>
        </p:sp>
        <p:sp>
          <p:nvSpPr>
            <p:cNvPr id="38978" name="4 CuadroTexto"/>
            <p:cNvSpPr txBox="1">
              <a:spLocks noChangeArrowheads="1"/>
            </p:cNvSpPr>
            <p:nvPr/>
          </p:nvSpPr>
          <p:spPr bwMode="auto">
            <a:xfrm>
              <a:off x="648181" y="4782051"/>
              <a:ext cx="305823" cy="2043713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700"/>
                <a:t>N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D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S</a:t>
              </a:r>
            </a:p>
            <a:p>
              <a:endParaRPr lang="es-CO" sz="700"/>
            </a:p>
            <a:p>
              <a:r>
                <a:rPr lang="es-CO" sz="700"/>
                <a:t>S</a:t>
              </a:r>
            </a:p>
            <a:p>
              <a:r>
                <a:rPr lang="es-CO" sz="700"/>
                <a:t>U</a:t>
              </a:r>
            </a:p>
            <a:p>
              <a:r>
                <a:rPr lang="es-CO" sz="700"/>
                <a:t>B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R</a:t>
              </a:r>
            </a:p>
            <a:p>
              <a:r>
                <a:rPr lang="es-CO" sz="700"/>
                <a:t>E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S</a:t>
              </a:r>
            </a:p>
          </p:txBody>
        </p:sp>
        <p:sp>
          <p:nvSpPr>
            <p:cNvPr id="38979" name="5 CuadroTexto"/>
            <p:cNvSpPr txBox="1">
              <a:spLocks noChangeArrowheads="1"/>
            </p:cNvSpPr>
            <p:nvPr/>
          </p:nvSpPr>
          <p:spPr bwMode="auto">
            <a:xfrm>
              <a:off x="932814" y="4782051"/>
              <a:ext cx="305823" cy="2043713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700"/>
                <a:t>N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D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S</a:t>
              </a:r>
            </a:p>
            <a:p>
              <a:endParaRPr lang="es-CO" sz="700"/>
            </a:p>
            <a:p>
              <a:r>
                <a:rPr lang="es-CO" sz="700"/>
                <a:t>S</a:t>
              </a:r>
            </a:p>
            <a:p>
              <a:r>
                <a:rPr lang="es-CO" sz="700"/>
                <a:t>U</a:t>
              </a:r>
            </a:p>
            <a:p>
              <a:r>
                <a:rPr lang="es-CO" sz="700"/>
                <a:t>B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R</a:t>
              </a:r>
            </a:p>
            <a:p>
              <a:r>
                <a:rPr lang="es-CO" sz="700"/>
                <a:t>E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S</a:t>
              </a:r>
            </a:p>
          </p:txBody>
        </p:sp>
        <p:sp>
          <p:nvSpPr>
            <p:cNvPr id="38980" name="6 CuadroTexto"/>
            <p:cNvSpPr txBox="1">
              <a:spLocks noChangeArrowheads="1"/>
            </p:cNvSpPr>
            <p:nvPr/>
          </p:nvSpPr>
          <p:spPr bwMode="auto">
            <a:xfrm>
              <a:off x="1217447" y="4782051"/>
              <a:ext cx="305823" cy="2043713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700"/>
                <a:t>N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D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S</a:t>
              </a:r>
            </a:p>
            <a:p>
              <a:endParaRPr lang="es-CO" sz="700"/>
            </a:p>
            <a:p>
              <a:r>
                <a:rPr lang="es-CO" sz="700"/>
                <a:t>S</a:t>
              </a:r>
            </a:p>
            <a:p>
              <a:r>
                <a:rPr lang="es-CO" sz="700"/>
                <a:t>U</a:t>
              </a:r>
            </a:p>
            <a:p>
              <a:r>
                <a:rPr lang="es-CO" sz="700"/>
                <a:t>B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R</a:t>
              </a:r>
            </a:p>
            <a:p>
              <a:r>
                <a:rPr lang="es-CO" sz="700"/>
                <a:t>E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S</a:t>
              </a:r>
            </a:p>
          </p:txBody>
        </p:sp>
        <p:sp>
          <p:nvSpPr>
            <p:cNvPr id="38981" name="7 CuadroTexto"/>
            <p:cNvSpPr txBox="1">
              <a:spLocks noChangeArrowheads="1"/>
            </p:cNvSpPr>
            <p:nvPr/>
          </p:nvSpPr>
          <p:spPr bwMode="auto">
            <a:xfrm>
              <a:off x="1502078" y="4782051"/>
              <a:ext cx="305823" cy="2043713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700"/>
                <a:t>N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D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S</a:t>
              </a:r>
            </a:p>
            <a:p>
              <a:endParaRPr lang="es-CO" sz="700"/>
            </a:p>
            <a:p>
              <a:r>
                <a:rPr lang="es-CO" sz="700"/>
                <a:t>S</a:t>
              </a:r>
            </a:p>
            <a:p>
              <a:r>
                <a:rPr lang="es-CO" sz="700"/>
                <a:t>U</a:t>
              </a:r>
            </a:p>
            <a:p>
              <a:r>
                <a:rPr lang="es-CO" sz="700"/>
                <a:t>B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R</a:t>
              </a:r>
            </a:p>
            <a:p>
              <a:r>
                <a:rPr lang="es-CO" sz="700"/>
                <a:t>E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S</a:t>
              </a:r>
            </a:p>
          </p:txBody>
        </p:sp>
      </p:grpSp>
      <p:sp>
        <p:nvSpPr>
          <p:cNvPr id="38915" name="8 CuadroTexto"/>
          <p:cNvSpPr txBox="1">
            <a:spLocks noChangeArrowheads="1"/>
          </p:cNvSpPr>
          <p:nvPr/>
        </p:nvSpPr>
        <p:spPr bwMode="auto">
          <a:xfrm>
            <a:off x="2861494" y="1100733"/>
            <a:ext cx="2281238" cy="430212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xtLst/>
        </p:spPr>
        <p:txBody>
          <a:bodyPr wrap="none">
            <a:spAutoFit/>
          </a:bodyPr>
          <a:lstStyle>
            <a:lvl1pPr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s-CO" sz="1100" dirty="0"/>
              <a:t>COMITÉ NACIONAL DE REDES</a:t>
            </a:r>
          </a:p>
          <a:p>
            <a:pPr algn="ctr"/>
            <a:r>
              <a:rPr lang="es-CO" sz="1100" dirty="0"/>
              <a:t>MEN – MINTRABAJO - SENA</a:t>
            </a:r>
          </a:p>
        </p:txBody>
      </p:sp>
      <p:sp>
        <p:nvSpPr>
          <p:cNvPr id="38916" name="9 CuadroTexto"/>
          <p:cNvSpPr txBox="1">
            <a:spLocks noChangeArrowheads="1"/>
          </p:cNvSpPr>
          <p:nvPr/>
        </p:nvSpPr>
        <p:spPr bwMode="auto">
          <a:xfrm>
            <a:off x="5903144" y="1438870"/>
            <a:ext cx="1597025" cy="260350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xtLst/>
        </p:spPr>
        <p:txBody>
          <a:bodyPr wrap="none">
            <a:spAutoFit/>
          </a:bodyPr>
          <a:lstStyle>
            <a:lvl1pPr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s-CO" sz="1100"/>
              <a:t>COMITÉS TÉCNICOS</a:t>
            </a:r>
          </a:p>
        </p:txBody>
      </p:sp>
      <p:sp>
        <p:nvSpPr>
          <p:cNvPr id="38917" name="10 CuadroTexto"/>
          <p:cNvSpPr txBox="1">
            <a:spLocks noChangeArrowheads="1"/>
          </p:cNvSpPr>
          <p:nvPr/>
        </p:nvSpPr>
        <p:spPr bwMode="auto">
          <a:xfrm>
            <a:off x="485007" y="3081933"/>
            <a:ext cx="1177925" cy="23177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s-CO" sz="900"/>
              <a:t>ASAMBLEA</a:t>
            </a:r>
          </a:p>
        </p:txBody>
      </p:sp>
      <p:sp>
        <p:nvSpPr>
          <p:cNvPr id="38918" name="11 CuadroTexto"/>
          <p:cNvSpPr txBox="1">
            <a:spLocks noChangeArrowheads="1"/>
          </p:cNvSpPr>
          <p:nvPr/>
        </p:nvSpPr>
        <p:spPr bwMode="auto">
          <a:xfrm>
            <a:off x="485007" y="3399433"/>
            <a:ext cx="1177925" cy="36988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s-CO" sz="900"/>
              <a:t>COMITÉ DIRECCIÓN</a:t>
            </a:r>
          </a:p>
        </p:txBody>
      </p:sp>
      <p:sp>
        <p:nvSpPr>
          <p:cNvPr id="14" name="13 CuadroTexto"/>
          <p:cNvSpPr txBox="1"/>
          <p:nvPr/>
        </p:nvSpPr>
        <p:spPr>
          <a:xfrm>
            <a:off x="485007" y="2610445"/>
            <a:ext cx="1177925" cy="508000"/>
          </a:xfrm>
          <a:prstGeom prst="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s-CO" sz="900" dirty="0"/>
              <a:t>RED POR</a:t>
            </a:r>
          </a:p>
          <a:p>
            <a:pPr algn="ctr">
              <a:defRPr/>
            </a:pPr>
            <a:r>
              <a:rPr lang="es-CO" sz="900" dirty="0"/>
              <a:t>AREA DESEMPEÑO</a:t>
            </a:r>
          </a:p>
        </p:txBody>
      </p:sp>
      <p:sp>
        <p:nvSpPr>
          <p:cNvPr id="38920" name="14 Rectángulo"/>
          <p:cNvSpPr>
            <a:spLocks noChangeArrowheads="1"/>
          </p:cNvSpPr>
          <p:nvPr/>
        </p:nvSpPr>
        <p:spPr bwMode="auto">
          <a:xfrm>
            <a:off x="485007" y="3580408"/>
            <a:ext cx="1177925" cy="23177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CO" sz="900">
                <a:solidFill>
                  <a:srgbClr val="000000"/>
                </a:solidFill>
              </a:rPr>
              <a:t>PRESIDENTE</a:t>
            </a:r>
          </a:p>
        </p:txBody>
      </p:sp>
      <p:sp>
        <p:nvSpPr>
          <p:cNvPr id="38921" name="15 Rectángulo"/>
          <p:cNvSpPr>
            <a:spLocks noChangeArrowheads="1"/>
          </p:cNvSpPr>
          <p:nvPr/>
        </p:nvSpPr>
        <p:spPr bwMode="auto">
          <a:xfrm>
            <a:off x="485007" y="3777258"/>
            <a:ext cx="1173162" cy="23018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CO" sz="900">
                <a:solidFill>
                  <a:srgbClr val="000000"/>
                </a:solidFill>
              </a:rPr>
              <a:t>SEC. TÉCNICA</a:t>
            </a:r>
          </a:p>
        </p:txBody>
      </p:sp>
      <p:cxnSp>
        <p:nvCxnSpPr>
          <p:cNvPr id="18" name="17 Conector angular"/>
          <p:cNvCxnSpPr>
            <a:stCxn id="38915" idx="2"/>
            <a:endCxn id="14" idx="0"/>
          </p:cNvCxnSpPr>
          <p:nvPr/>
        </p:nvCxnSpPr>
        <p:spPr>
          <a:xfrm rot="5400000">
            <a:off x="1997894" y="607020"/>
            <a:ext cx="1079500" cy="2927350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19 Conector recto de flecha"/>
          <p:cNvCxnSpPr/>
          <p:nvPr/>
        </p:nvCxnSpPr>
        <p:spPr>
          <a:xfrm>
            <a:off x="1073969" y="2935883"/>
            <a:ext cx="0" cy="14605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21 Conector angular"/>
          <p:cNvCxnSpPr/>
          <p:nvPr/>
        </p:nvCxnSpPr>
        <p:spPr>
          <a:xfrm rot="5400000">
            <a:off x="1017613" y="3344664"/>
            <a:ext cx="112713" cy="9525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61 Conector recto"/>
          <p:cNvCxnSpPr/>
          <p:nvPr/>
        </p:nvCxnSpPr>
        <p:spPr>
          <a:xfrm flipH="1" flipV="1">
            <a:off x="4001319" y="1665883"/>
            <a:ext cx="1901825" cy="9525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926" name="70 Rectángulo"/>
          <p:cNvSpPr>
            <a:spLocks noChangeArrowheads="1"/>
          </p:cNvSpPr>
          <p:nvPr/>
        </p:nvSpPr>
        <p:spPr bwMode="auto">
          <a:xfrm>
            <a:off x="467544" y="4228108"/>
            <a:ext cx="1173163" cy="36988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CO" sz="900">
                <a:solidFill>
                  <a:srgbClr val="000000"/>
                </a:solidFill>
              </a:rPr>
              <a:t>Eq. Técn. Proyectos</a:t>
            </a:r>
          </a:p>
        </p:txBody>
      </p:sp>
      <p:cxnSp>
        <p:nvCxnSpPr>
          <p:cNvPr id="23" name="22 Conector recto de flecha"/>
          <p:cNvCxnSpPr>
            <a:stCxn id="38921" idx="2"/>
            <a:endCxn id="38926" idx="0"/>
          </p:cNvCxnSpPr>
          <p:nvPr/>
        </p:nvCxnSpPr>
        <p:spPr>
          <a:xfrm flipH="1">
            <a:off x="1054919" y="4007445"/>
            <a:ext cx="15875" cy="22066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24 Conector angular"/>
          <p:cNvCxnSpPr>
            <a:stCxn id="38926" idx="2"/>
            <a:endCxn id="38977" idx="0"/>
          </p:cNvCxnSpPr>
          <p:nvPr/>
        </p:nvCxnSpPr>
        <p:spPr>
          <a:xfrm rot="5400000">
            <a:off x="786631" y="4428133"/>
            <a:ext cx="98425" cy="438150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28 Conector angular"/>
          <p:cNvCxnSpPr>
            <a:stCxn id="38926" idx="2"/>
            <a:endCxn id="38981" idx="0"/>
          </p:cNvCxnSpPr>
          <p:nvPr/>
        </p:nvCxnSpPr>
        <p:spPr>
          <a:xfrm rot="16200000" flipH="1">
            <a:off x="1262088" y="4390826"/>
            <a:ext cx="98425" cy="512763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30 Conector angular"/>
          <p:cNvCxnSpPr>
            <a:stCxn id="38926" idx="2"/>
            <a:endCxn id="38978" idx="0"/>
          </p:cNvCxnSpPr>
          <p:nvPr/>
        </p:nvCxnSpPr>
        <p:spPr>
          <a:xfrm rot="5400000">
            <a:off x="905694" y="4547195"/>
            <a:ext cx="98425" cy="200025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32 Conector angular"/>
          <p:cNvCxnSpPr>
            <a:stCxn id="38926" idx="2"/>
            <a:endCxn id="38980" idx="0"/>
          </p:cNvCxnSpPr>
          <p:nvPr/>
        </p:nvCxnSpPr>
        <p:spPr>
          <a:xfrm rot="16200000" flipH="1">
            <a:off x="1143025" y="4509889"/>
            <a:ext cx="98425" cy="274638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43 Conector angular"/>
          <p:cNvCxnSpPr>
            <a:stCxn id="38926" idx="2"/>
            <a:endCxn id="38979" idx="0"/>
          </p:cNvCxnSpPr>
          <p:nvPr/>
        </p:nvCxnSpPr>
        <p:spPr>
          <a:xfrm rot="16200000" flipH="1">
            <a:off x="1024756" y="4628158"/>
            <a:ext cx="98425" cy="38100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8933" name="113 Grupo"/>
          <p:cNvGrpSpPr>
            <a:grpSpLocks/>
          </p:cNvGrpSpPr>
          <p:nvPr/>
        </p:nvGrpSpPr>
        <p:grpSpPr bwMode="auto">
          <a:xfrm>
            <a:off x="6384157" y="4709120"/>
            <a:ext cx="1204912" cy="1600200"/>
            <a:chOff x="363548" y="4782051"/>
            <a:chExt cx="1444353" cy="2043713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38972" name="114 CuadroTexto"/>
            <p:cNvSpPr txBox="1">
              <a:spLocks noChangeArrowheads="1"/>
            </p:cNvSpPr>
            <p:nvPr/>
          </p:nvSpPr>
          <p:spPr bwMode="auto">
            <a:xfrm>
              <a:off x="363548" y="4782051"/>
              <a:ext cx="305823" cy="2043713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700"/>
                <a:t>N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D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S</a:t>
              </a:r>
            </a:p>
            <a:p>
              <a:endParaRPr lang="es-CO" sz="700"/>
            </a:p>
            <a:p>
              <a:r>
                <a:rPr lang="es-CO" sz="700"/>
                <a:t>S</a:t>
              </a:r>
            </a:p>
            <a:p>
              <a:r>
                <a:rPr lang="es-CO" sz="700"/>
                <a:t>U</a:t>
              </a:r>
            </a:p>
            <a:p>
              <a:r>
                <a:rPr lang="es-CO" sz="700"/>
                <a:t>B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R</a:t>
              </a:r>
            </a:p>
            <a:p>
              <a:r>
                <a:rPr lang="es-CO" sz="700"/>
                <a:t>E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S</a:t>
              </a:r>
            </a:p>
          </p:txBody>
        </p:sp>
        <p:sp>
          <p:nvSpPr>
            <p:cNvPr id="38973" name="115 CuadroTexto"/>
            <p:cNvSpPr txBox="1">
              <a:spLocks noChangeArrowheads="1"/>
            </p:cNvSpPr>
            <p:nvPr/>
          </p:nvSpPr>
          <p:spPr bwMode="auto">
            <a:xfrm>
              <a:off x="648181" y="4782051"/>
              <a:ext cx="305823" cy="2043713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700"/>
                <a:t>N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D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S</a:t>
              </a:r>
            </a:p>
            <a:p>
              <a:endParaRPr lang="es-CO" sz="700"/>
            </a:p>
            <a:p>
              <a:r>
                <a:rPr lang="es-CO" sz="700"/>
                <a:t>S</a:t>
              </a:r>
            </a:p>
            <a:p>
              <a:r>
                <a:rPr lang="es-CO" sz="700"/>
                <a:t>U</a:t>
              </a:r>
            </a:p>
            <a:p>
              <a:r>
                <a:rPr lang="es-CO" sz="700"/>
                <a:t>B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R</a:t>
              </a:r>
            </a:p>
            <a:p>
              <a:r>
                <a:rPr lang="es-CO" sz="700"/>
                <a:t>E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S</a:t>
              </a:r>
            </a:p>
          </p:txBody>
        </p:sp>
        <p:sp>
          <p:nvSpPr>
            <p:cNvPr id="38974" name="116 CuadroTexto"/>
            <p:cNvSpPr txBox="1">
              <a:spLocks noChangeArrowheads="1"/>
            </p:cNvSpPr>
            <p:nvPr/>
          </p:nvSpPr>
          <p:spPr bwMode="auto">
            <a:xfrm>
              <a:off x="932814" y="4782051"/>
              <a:ext cx="305823" cy="2043713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700"/>
                <a:t>N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D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S</a:t>
              </a:r>
            </a:p>
            <a:p>
              <a:endParaRPr lang="es-CO" sz="700"/>
            </a:p>
            <a:p>
              <a:r>
                <a:rPr lang="es-CO" sz="700"/>
                <a:t>S</a:t>
              </a:r>
            </a:p>
            <a:p>
              <a:r>
                <a:rPr lang="es-CO" sz="700"/>
                <a:t>U</a:t>
              </a:r>
            </a:p>
            <a:p>
              <a:r>
                <a:rPr lang="es-CO" sz="700"/>
                <a:t>B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R</a:t>
              </a:r>
            </a:p>
            <a:p>
              <a:r>
                <a:rPr lang="es-CO" sz="700"/>
                <a:t>E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S</a:t>
              </a:r>
            </a:p>
          </p:txBody>
        </p:sp>
        <p:sp>
          <p:nvSpPr>
            <p:cNvPr id="38975" name="117 CuadroTexto"/>
            <p:cNvSpPr txBox="1">
              <a:spLocks noChangeArrowheads="1"/>
            </p:cNvSpPr>
            <p:nvPr/>
          </p:nvSpPr>
          <p:spPr bwMode="auto">
            <a:xfrm>
              <a:off x="1217447" y="4782051"/>
              <a:ext cx="305823" cy="2043713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700"/>
                <a:t>N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D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S</a:t>
              </a:r>
            </a:p>
            <a:p>
              <a:endParaRPr lang="es-CO" sz="700"/>
            </a:p>
            <a:p>
              <a:r>
                <a:rPr lang="es-CO" sz="700"/>
                <a:t>S</a:t>
              </a:r>
            </a:p>
            <a:p>
              <a:r>
                <a:rPr lang="es-CO" sz="700"/>
                <a:t>U</a:t>
              </a:r>
            </a:p>
            <a:p>
              <a:r>
                <a:rPr lang="es-CO" sz="700"/>
                <a:t>B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R</a:t>
              </a:r>
            </a:p>
            <a:p>
              <a:r>
                <a:rPr lang="es-CO" sz="700"/>
                <a:t>E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S</a:t>
              </a:r>
            </a:p>
          </p:txBody>
        </p:sp>
        <p:sp>
          <p:nvSpPr>
            <p:cNvPr id="38976" name="118 CuadroTexto"/>
            <p:cNvSpPr txBox="1">
              <a:spLocks noChangeArrowheads="1"/>
            </p:cNvSpPr>
            <p:nvPr/>
          </p:nvSpPr>
          <p:spPr bwMode="auto">
            <a:xfrm>
              <a:off x="1502078" y="4782051"/>
              <a:ext cx="305823" cy="2043713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700"/>
                <a:t>N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D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S</a:t>
              </a:r>
            </a:p>
            <a:p>
              <a:endParaRPr lang="es-CO" sz="700"/>
            </a:p>
            <a:p>
              <a:r>
                <a:rPr lang="es-CO" sz="700"/>
                <a:t>S</a:t>
              </a:r>
            </a:p>
            <a:p>
              <a:r>
                <a:rPr lang="es-CO" sz="700"/>
                <a:t>U</a:t>
              </a:r>
            </a:p>
            <a:p>
              <a:r>
                <a:rPr lang="es-CO" sz="700"/>
                <a:t>B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R</a:t>
              </a:r>
            </a:p>
            <a:p>
              <a:r>
                <a:rPr lang="es-CO" sz="700"/>
                <a:t>E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S</a:t>
              </a:r>
            </a:p>
          </p:txBody>
        </p:sp>
      </p:grpSp>
      <p:sp>
        <p:nvSpPr>
          <p:cNvPr id="38934" name="119 CuadroTexto"/>
          <p:cNvSpPr txBox="1">
            <a:spLocks noChangeArrowheads="1"/>
          </p:cNvSpPr>
          <p:nvPr/>
        </p:nvSpPr>
        <p:spPr bwMode="auto">
          <a:xfrm>
            <a:off x="6379394" y="3094633"/>
            <a:ext cx="1177925" cy="23018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s-CO" sz="900"/>
              <a:t>ASAMBLEA</a:t>
            </a:r>
          </a:p>
        </p:txBody>
      </p:sp>
      <p:sp>
        <p:nvSpPr>
          <p:cNvPr id="38935" name="120 CuadroTexto"/>
          <p:cNvSpPr txBox="1">
            <a:spLocks noChangeArrowheads="1"/>
          </p:cNvSpPr>
          <p:nvPr/>
        </p:nvSpPr>
        <p:spPr bwMode="auto">
          <a:xfrm>
            <a:off x="6379394" y="3412133"/>
            <a:ext cx="1177925" cy="36988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s-CO" sz="900"/>
              <a:t>COMITÉ DIRECCIÓN</a:t>
            </a:r>
          </a:p>
        </p:txBody>
      </p:sp>
      <p:sp>
        <p:nvSpPr>
          <p:cNvPr id="122" name="121 CuadroTexto"/>
          <p:cNvSpPr txBox="1"/>
          <p:nvPr/>
        </p:nvSpPr>
        <p:spPr>
          <a:xfrm>
            <a:off x="6379394" y="2623145"/>
            <a:ext cx="1177925" cy="230188"/>
          </a:xfrm>
          <a:prstGeom prst="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s-CO" sz="900" dirty="0"/>
              <a:t>RED N9</a:t>
            </a:r>
          </a:p>
        </p:txBody>
      </p:sp>
      <p:sp>
        <p:nvSpPr>
          <p:cNvPr id="38937" name="122 Rectángulo"/>
          <p:cNvSpPr>
            <a:spLocks noChangeArrowheads="1"/>
          </p:cNvSpPr>
          <p:nvPr/>
        </p:nvSpPr>
        <p:spPr bwMode="auto">
          <a:xfrm>
            <a:off x="6379394" y="3593108"/>
            <a:ext cx="1177925" cy="23018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CO" sz="900">
                <a:solidFill>
                  <a:srgbClr val="000000"/>
                </a:solidFill>
              </a:rPr>
              <a:t>PRESIDENTE</a:t>
            </a:r>
          </a:p>
        </p:txBody>
      </p:sp>
      <p:sp>
        <p:nvSpPr>
          <p:cNvPr id="38938" name="123 Rectángulo"/>
          <p:cNvSpPr>
            <a:spLocks noChangeArrowheads="1"/>
          </p:cNvSpPr>
          <p:nvPr/>
        </p:nvSpPr>
        <p:spPr bwMode="auto">
          <a:xfrm>
            <a:off x="6379394" y="3788370"/>
            <a:ext cx="1173163" cy="23177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CO" sz="900">
                <a:solidFill>
                  <a:srgbClr val="000000"/>
                </a:solidFill>
              </a:rPr>
              <a:t>SEC. TÉCNICA</a:t>
            </a:r>
          </a:p>
        </p:txBody>
      </p:sp>
      <p:cxnSp>
        <p:nvCxnSpPr>
          <p:cNvPr id="125" name="124 Conector recto de flecha"/>
          <p:cNvCxnSpPr/>
          <p:nvPr/>
        </p:nvCxnSpPr>
        <p:spPr>
          <a:xfrm>
            <a:off x="6968357" y="2948583"/>
            <a:ext cx="0" cy="14605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125 Conector angular"/>
          <p:cNvCxnSpPr/>
          <p:nvPr/>
        </p:nvCxnSpPr>
        <p:spPr>
          <a:xfrm rot="5400000">
            <a:off x="6912001" y="3355776"/>
            <a:ext cx="112712" cy="9525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941" name="126 Rectángulo"/>
          <p:cNvSpPr>
            <a:spLocks noChangeArrowheads="1"/>
          </p:cNvSpPr>
          <p:nvPr/>
        </p:nvSpPr>
        <p:spPr bwMode="auto">
          <a:xfrm>
            <a:off x="6361932" y="4239220"/>
            <a:ext cx="1173162" cy="3698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CO" sz="900">
                <a:solidFill>
                  <a:srgbClr val="000000"/>
                </a:solidFill>
              </a:rPr>
              <a:t>Eq. Técn. Proyectos</a:t>
            </a:r>
          </a:p>
        </p:txBody>
      </p:sp>
      <p:cxnSp>
        <p:nvCxnSpPr>
          <p:cNvPr id="128" name="127 Conector recto de flecha"/>
          <p:cNvCxnSpPr>
            <a:stCxn id="38938" idx="2"/>
            <a:endCxn id="38941" idx="0"/>
          </p:cNvCxnSpPr>
          <p:nvPr/>
        </p:nvCxnSpPr>
        <p:spPr>
          <a:xfrm flipH="1">
            <a:off x="6949307" y="4020145"/>
            <a:ext cx="15875" cy="21907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128 Conector angular"/>
          <p:cNvCxnSpPr>
            <a:stCxn id="38941" idx="2"/>
            <a:endCxn id="38972" idx="0"/>
          </p:cNvCxnSpPr>
          <p:nvPr/>
        </p:nvCxnSpPr>
        <p:spPr>
          <a:xfrm rot="5400000">
            <a:off x="6680226" y="4440039"/>
            <a:ext cx="100012" cy="438150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0" name="129 Conector angular"/>
          <p:cNvCxnSpPr>
            <a:stCxn id="38941" idx="2"/>
            <a:endCxn id="38976" idx="0"/>
          </p:cNvCxnSpPr>
          <p:nvPr/>
        </p:nvCxnSpPr>
        <p:spPr>
          <a:xfrm rot="16200000" flipH="1">
            <a:off x="7155682" y="4402733"/>
            <a:ext cx="100012" cy="512762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130 Conector angular"/>
          <p:cNvCxnSpPr>
            <a:stCxn id="38941" idx="2"/>
            <a:endCxn id="38973" idx="0"/>
          </p:cNvCxnSpPr>
          <p:nvPr/>
        </p:nvCxnSpPr>
        <p:spPr>
          <a:xfrm rot="5400000">
            <a:off x="6799289" y="4559101"/>
            <a:ext cx="100012" cy="200025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131 Conector angular"/>
          <p:cNvCxnSpPr>
            <a:stCxn id="38941" idx="2"/>
            <a:endCxn id="38975" idx="0"/>
          </p:cNvCxnSpPr>
          <p:nvPr/>
        </p:nvCxnSpPr>
        <p:spPr>
          <a:xfrm rot="16200000" flipH="1">
            <a:off x="7036620" y="4521795"/>
            <a:ext cx="100012" cy="274637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132 Conector angular"/>
          <p:cNvCxnSpPr>
            <a:stCxn id="38941" idx="2"/>
            <a:endCxn id="38974" idx="0"/>
          </p:cNvCxnSpPr>
          <p:nvPr/>
        </p:nvCxnSpPr>
        <p:spPr>
          <a:xfrm rot="16200000" flipH="1">
            <a:off x="6918351" y="4640064"/>
            <a:ext cx="100012" cy="38100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45 Conector angular"/>
          <p:cNvCxnSpPr/>
          <p:nvPr/>
        </p:nvCxnSpPr>
        <p:spPr>
          <a:xfrm rot="5400000">
            <a:off x="3445694" y="2065933"/>
            <a:ext cx="1112838" cy="11112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56 Conector angular"/>
          <p:cNvCxnSpPr>
            <a:stCxn id="38915" idx="2"/>
            <a:endCxn id="122" idx="0"/>
          </p:cNvCxnSpPr>
          <p:nvPr/>
        </p:nvCxnSpPr>
        <p:spPr>
          <a:xfrm rot="16200000" flipH="1">
            <a:off x="4938738" y="593526"/>
            <a:ext cx="1092200" cy="2967038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950" name="58 CuadroTexto"/>
          <p:cNvSpPr txBox="1">
            <a:spLocks noChangeArrowheads="1"/>
          </p:cNvSpPr>
          <p:nvPr/>
        </p:nvSpPr>
        <p:spPr bwMode="auto">
          <a:xfrm>
            <a:off x="2102669" y="2502495"/>
            <a:ext cx="492125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s-CO"/>
              <a:t>…</a:t>
            </a:r>
          </a:p>
        </p:txBody>
      </p:sp>
      <p:sp>
        <p:nvSpPr>
          <p:cNvPr id="38951" name="133 CuadroTexto"/>
          <p:cNvSpPr txBox="1">
            <a:spLocks noChangeArrowheads="1"/>
          </p:cNvSpPr>
          <p:nvPr/>
        </p:nvSpPr>
        <p:spPr bwMode="auto">
          <a:xfrm>
            <a:off x="5309419" y="2510433"/>
            <a:ext cx="493713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s-CO"/>
              <a:t>…</a:t>
            </a:r>
          </a:p>
        </p:txBody>
      </p:sp>
      <p:grpSp>
        <p:nvGrpSpPr>
          <p:cNvPr id="38952" name="69 Grupo"/>
          <p:cNvGrpSpPr>
            <a:grpSpLocks/>
          </p:cNvGrpSpPr>
          <p:nvPr/>
        </p:nvGrpSpPr>
        <p:grpSpPr bwMode="auto">
          <a:xfrm>
            <a:off x="3434582" y="4709120"/>
            <a:ext cx="1204912" cy="1600200"/>
            <a:chOff x="363548" y="4782051"/>
            <a:chExt cx="1444353" cy="2043713"/>
          </a:xfrm>
          <a:solidFill>
            <a:schemeClr val="accent1">
              <a:lumMod val="40000"/>
              <a:lumOff val="60000"/>
            </a:schemeClr>
          </a:solidFill>
        </p:grpSpPr>
        <p:sp>
          <p:nvSpPr>
            <p:cNvPr id="38967" name="71 CuadroTexto"/>
            <p:cNvSpPr txBox="1">
              <a:spLocks noChangeArrowheads="1"/>
            </p:cNvSpPr>
            <p:nvPr/>
          </p:nvSpPr>
          <p:spPr bwMode="auto">
            <a:xfrm>
              <a:off x="363548" y="4782051"/>
              <a:ext cx="305823" cy="2043713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700"/>
                <a:t>N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D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S</a:t>
              </a:r>
            </a:p>
            <a:p>
              <a:endParaRPr lang="es-CO" sz="700"/>
            </a:p>
            <a:p>
              <a:r>
                <a:rPr lang="es-CO" sz="700"/>
                <a:t>S</a:t>
              </a:r>
            </a:p>
            <a:p>
              <a:r>
                <a:rPr lang="es-CO" sz="700"/>
                <a:t>U</a:t>
              </a:r>
            </a:p>
            <a:p>
              <a:r>
                <a:rPr lang="es-CO" sz="700"/>
                <a:t>B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R</a:t>
              </a:r>
            </a:p>
            <a:p>
              <a:r>
                <a:rPr lang="es-CO" sz="700"/>
                <a:t>E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S</a:t>
              </a:r>
            </a:p>
          </p:txBody>
        </p:sp>
        <p:sp>
          <p:nvSpPr>
            <p:cNvPr id="38968" name="72 CuadroTexto"/>
            <p:cNvSpPr txBox="1">
              <a:spLocks noChangeArrowheads="1"/>
            </p:cNvSpPr>
            <p:nvPr/>
          </p:nvSpPr>
          <p:spPr bwMode="auto">
            <a:xfrm>
              <a:off x="648181" y="4782051"/>
              <a:ext cx="305823" cy="2043713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700"/>
                <a:t>N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D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S</a:t>
              </a:r>
            </a:p>
            <a:p>
              <a:endParaRPr lang="es-CO" sz="700"/>
            </a:p>
            <a:p>
              <a:r>
                <a:rPr lang="es-CO" sz="700"/>
                <a:t>S</a:t>
              </a:r>
            </a:p>
            <a:p>
              <a:r>
                <a:rPr lang="es-CO" sz="700"/>
                <a:t>U</a:t>
              </a:r>
            </a:p>
            <a:p>
              <a:r>
                <a:rPr lang="es-CO" sz="700"/>
                <a:t>B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R</a:t>
              </a:r>
            </a:p>
            <a:p>
              <a:r>
                <a:rPr lang="es-CO" sz="700"/>
                <a:t>E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S</a:t>
              </a:r>
            </a:p>
          </p:txBody>
        </p:sp>
        <p:sp>
          <p:nvSpPr>
            <p:cNvPr id="38969" name="73 CuadroTexto"/>
            <p:cNvSpPr txBox="1">
              <a:spLocks noChangeArrowheads="1"/>
            </p:cNvSpPr>
            <p:nvPr/>
          </p:nvSpPr>
          <p:spPr bwMode="auto">
            <a:xfrm>
              <a:off x="932814" y="4782051"/>
              <a:ext cx="305823" cy="2043713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700"/>
                <a:t>N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D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S</a:t>
              </a:r>
            </a:p>
            <a:p>
              <a:endParaRPr lang="es-CO" sz="700"/>
            </a:p>
            <a:p>
              <a:r>
                <a:rPr lang="es-CO" sz="700"/>
                <a:t>S</a:t>
              </a:r>
            </a:p>
            <a:p>
              <a:r>
                <a:rPr lang="es-CO" sz="700"/>
                <a:t>U</a:t>
              </a:r>
            </a:p>
            <a:p>
              <a:r>
                <a:rPr lang="es-CO" sz="700"/>
                <a:t>B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R</a:t>
              </a:r>
            </a:p>
            <a:p>
              <a:r>
                <a:rPr lang="es-CO" sz="700"/>
                <a:t>E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S</a:t>
              </a:r>
            </a:p>
          </p:txBody>
        </p:sp>
        <p:sp>
          <p:nvSpPr>
            <p:cNvPr id="38970" name="74 CuadroTexto"/>
            <p:cNvSpPr txBox="1">
              <a:spLocks noChangeArrowheads="1"/>
            </p:cNvSpPr>
            <p:nvPr/>
          </p:nvSpPr>
          <p:spPr bwMode="auto">
            <a:xfrm>
              <a:off x="1217447" y="4782051"/>
              <a:ext cx="305823" cy="2043713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700"/>
                <a:t>N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D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S</a:t>
              </a:r>
            </a:p>
            <a:p>
              <a:endParaRPr lang="es-CO" sz="700"/>
            </a:p>
            <a:p>
              <a:r>
                <a:rPr lang="es-CO" sz="700"/>
                <a:t>S</a:t>
              </a:r>
            </a:p>
            <a:p>
              <a:r>
                <a:rPr lang="es-CO" sz="700"/>
                <a:t>U</a:t>
              </a:r>
            </a:p>
            <a:p>
              <a:r>
                <a:rPr lang="es-CO" sz="700"/>
                <a:t>B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R</a:t>
              </a:r>
            </a:p>
            <a:p>
              <a:r>
                <a:rPr lang="es-CO" sz="700"/>
                <a:t>E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S</a:t>
              </a:r>
            </a:p>
          </p:txBody>
        </p:sp>
        <p:sp>
          <p:nvSpPr>
            <p:cNvPr id="38971" name="75 CuadroTexto"/>
            <p:cNvSpPr txBox="1">
              <a:spLocks noChangeArrowheads="1"/>
            </p:cNvSpPr>
            <p:nvPr/>
          </p:nvSpPr>
          <p:spPr bwMode="auto">
            <a:xfrm>
              <a:off x="1502078" y="4782051"/>
              <a:ext cx="305823" cy="2043713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  <a:extLst/>
          </p:spPr>
          <p:txBody>
            <a:bodyPr wrap="none">
              <a:spAutoFit/>
            </a:bodyPr>
            <a:lstStyle>
              <a:lvl1pPr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 marL="742950" indent="-28575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 marL="11430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 marL="16002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 marL="2057400" indent="-228600"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 b="1"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r>
                <a:rPr lang="es-CO" sz="700"/>
                <a:t>N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D</a:t>
              </a:r>
            </a:p>
            <a:p>
              <a:r>
                <a:rPr lang="es-CO" sz="700"/>
                <a:t>O</a:t>
              </a:r>
            </a:p>
            <a:p>
              <a:r>
                <a:rPr lang="es-CO" sz="700"/>
                <a:t>S</a:t>
              </a:r>
            </a:p>
            <a:p>
              <a:endParaRPr lang="es-CO" sz="700"/>
            </a:p>
            <a:p>
              <a:r>
                <a:rPr lang="es-CO" sz="700"/>
                <a:t>S</a:t>
              </a:r>
            </a:p>
            <a:p>
              <a:r>
                <a:rPr lang="es-CO" sz="700"/>
                <a:t>U</a:t>
              </a:r>
            </a:p>
            <a:p>
              <a:r>
                <a:rPr lang="es-CO" sz="700"/>
                <a:t>B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R</a:t>
              </a:r>
            </a:p>
            <a:p>
              <a:r>
                <a:rPr lang="es-CO" sz="700"/>
                <a:t>E</a:t>
              </a:r>
            </a:p>
            <a:p>
              <a:r>
                <a:rPr lang="es-CO" sz="700"/>
                <a:t>A</a:t>
              </a:r>
            </a:p>
            <a:p>
              <a:r>
                <a:rPr lang="es-CO" sz="700"/>
                <a:t>S</a:t>
              </a:r>
            </a:p>
          </p:txBody>
        </p:sp>
      </p:grpSp>
      <p:sp>
        <p:nvSpPr>
          <p:cNvPr id="38953" name="76 CuadroTexto"/>
          <p:cNvSpPr txBox="1">
            <a:spLocks noChangeArrowheads="1"/>
          </p:cNvSpPr>
          <p:nvPr/>
        </p:nvSpPr>
        <p:spPr bwMode="auto">
          <a:xfrm>
            <a:off x="3428232" y="3094633"/>
            <a:ext cx="1179512" cy="23018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>
            <a:spAutoFit/>
          </a:bodyPr>
          <a:lstStyle>
            <a:lvl1pPr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s-CO" sz="900"/>
              <a:t>ASAMBLEA</a:t>
            </a:r>
          </a:p>
        </p:txBody>
      </p:sp>
      <p:sp>
        <p:nvSpPr>
          <p:cNvPr id="38954" name="77 CuadroTexto"/>
          <p:cNvSpPr txBox="1">
            <a:spLocks noChangeArrowheads="1"/>
          </p:cNvSpPr>
          <p:nvPr/>
        </p:nvSpPr>
        <p:spPr bwMode="auto">
          <a:xfrm>
            <a:off x="3428232" y="3412133"/>
            <a:ext cx="1179512" cy="36988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s-CO" sz="900"/>
              <a:t>COMITÉ DIRECCIÓN</a:t>
            </a:r>
          </a:p>
        </p:txBody>
      </p:sp>
      <p:sp>
        <p:nvSpPr>
          <p:cNvPr id="79" name="78 CuadroTexto"/>
          <p:cNvSpPr txBox="1"/>
          <p:nvPr/>
        </p:nvSpPr>
        <p:spPr>
          <a:xfrm>
            <a:off x="3428232" y="2623145"/>
            <a:ext cx="1179512" cy="230188"/>
          </a:xfrm>
          <a:prstGeom prst="rect">
            <a:avLst/>
          </a:prstGeom>
          <a:solidFill>
            <a:srgbClr val="FFC000"/>
          </a:solidFill>
          <a:ln>
            <a:solidFill>
              <a:schemeClr val="tx1"/>
            </a:solidFill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s-CO" sz="900" dirty="0"/>
              <a:t>RED </a:t>
            </a:r>
            <a:r>
              <a:rPr lang="es-CO" sz="900" dirty="0" smtClean="0"/>
              <a:t>N7</a:t>
            </a:r>
            <a:endParaRPr lang="es-CO" sz="900" dirty="0"/>
          </a:p>
        </p:txBody>
      </p:sp>
      <p:sp>
        <p:nvSpPr>
          <p:cNvPr id="38956" name="79 Rectángulo"/>
          <p:cNvSpPr>
            <a:spLocks noChangeArrowheads="1"/>
          </p:cNvSpPr>
          <p:nvPr/>
        </p:nvSpPr>
        <p:spPr bwMode="auto">
          <a:xfrm>
            <a:off x="3428232" y="3593108"/>
            <a:ext cx="1179512" cy="230187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CO" sz="900">
                <a:solidFill>
                  <a:srgbClr val="000000"/>
                </a:solidFill>
              </a:rPr>
              <a:t>PRESIDENTE</a:t>
            </a:r>
          </a:p>
        </p:txBody>
      </p:sp>
      <p:sp>
        <p:nvSpPr>
          <p:cNvPr id="38957" name="80 Rectángulo"/>
          <p:cNvSpPr>
            <a:spLocks noChangeArrowheads="1"/>
          </p:cNvSpPr>
          <p:nvPr/>
        </p:nvSpPr>
        <p:spPr bwMode="auto">
          <a:xfrm>
            <a:off x="3428232" y="3788370"/>
            <a:ext cx="1174750" cy="231775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CO" sz="900">
                <a:solidFill>
                  <a:srgbClr val="000000"/>
                </a:solidFill>
              </a:rPr>
              <a:t>SEC. TÉCNICA</a:t>
            </a:r>
          </a:p>
        </p:txBody>
      </p:sp>
      <p:cxnSp>
        <p:nvCxnSpPr>
          <p:cNvPr id="82" name="81 Conector recto de flecha"/>
          <p:cNvCxnSpPr/>
          <p:nvPr/>
        </p:nvCxnSpPr>
        <p:spPr>
          <a:xfrm>
            <a:off x="4018782" y="2948583"/>
            <a:ext cx="0" cy="14605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82 Conector angular"/>
          <p:cNvCxnSpPr/>
          <p:nvPr/>
        </p:nvCxnSpPr>
        <p:spPr>
          <a:xfrm rot="5400000">
            <a:off x="3961632" y="3354983"/>
            <a:ext cx="112712" cy="11112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960" name="83 Rectángulo"/>
          <p:cNvSpPr>
            <a:spLocks noChangeArrowheads="1"/>
          </p:cNvSpPr>
          <p:nvPr/>
        </p:nvSpPr>
        <p:spPr bwMode="auto">
          <a:xfrm>
            <a:off x="3412357" y="4239220"/>
            <a:ext cx="1173162" cy="36988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s-CO" sz="900">
                <a:solidFill>
                  <a:srgbClr val="000000"/>
                </a:solidFill>
              </a:rPr>
              <a:t>Eq. Técn. Proyectos</a:t>
            </a:r>
          </a:p>
        </p:txBody>
      </p:sp>
      <p:cxnSp>
        <p:nvCxnSpPr>
          <p:cNvPr id="85" name="84 Conector recto de flecha"/>
          <p:cNvCxnSpPr>
            <a:stCxn id="38957" idx="2"/>
            <a:endCxn id="38960" idx="0"/>
          </p:cNvCxnSpPr>
          <p:nvPr/>
        </p:nvCxnSpPr>
        <p:spPr>
          <a:xfrm flipH="1">
            <a:off x="3998144" y="4020145"/>
            <a:ext cx="17463" cy="21907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85 Conector angular"/>
          <p:cNvCxnSpPr>
            <a:stCxn id="38960" idx="2"/>
            <a:endCxn id="38967" idx="0"/>
          </p:cNvCxnSpPr>
          <p:nvPr/>
        </p:nvCxnSpPr>
        <p:spPr>
          <a:xfrm rot="5400000">
            <a:off x="3729857" y="4440833"/>
            <a:ext cx="100012" cy="436562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86 Conector angular"/>
          <p:cNvCxnSpPr>
            <a:stCxn id="38960" idx="2"/>
            <a:endCxn id="38971" idx="0"/>
          </p:cNvCxnSpPr>
          <p:nvPr/>
        </p:nvCxnSpPr>
        <p:spPr>
          <a:xfrm rot="16200000" flipH="1">
            <a:off x="4205313" y="4401939"/>
            <a:ext cx="100012" cy="514350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87 Conector angular"/>
          <p:cNvCxnSpPr>
            <a:stCxn id="38960" idx="2"/>
            <a:endCxn id="38968" idx="0"/>
          </p:cNvCxnSpPr>
          <p:nvPr/>
        </p:nvCxnSpPr>
        <p:spPr>
          <a:xfrm rot="5400000">
            <a:off x="3848920" y="4559895"/>
            <a:ext cx="100012" cy="198437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88 Conector angular"/>
          <p:cNvCxnSpPr>
            <a:stCxn id="38960" idx="2"/>
            <a:endCxn id="38970" idx="0"/>
          </p:cNvCxnSpPr>
          <p:nvPr/>
        </p:nvCxnSpPr>
        <p:spPr>
          <a:xfrm rot="16200000" flipH="1">
            <a:off x="4086251" y="4521001"/>
            <a:ext cx="100012" cy="276225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89 Conector angular"/>
          <p:cNvCxnSpPr>
            <a:stCxn id="38960" idx="2"/>
            <a:endCxn id="38969" idx="0"/>
          </p:cNvCxnSpPr>
          <p:nvPr/>
        </p:nvCxnSpPr>
        <p:spPr>
          <a:xfrm rot="16200000" flipH="1">
            <a:off x="3967188" y="4640064"/>
            <a:ext cx="100012" cy="38100"/>
          </a:xfrm>
          <a:prstGeom prst="bentConnector3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0" name="1 Título"/>
          <p:cNvSpPr txBox="1">
            <a:spLocks/>
          </p:cNvSpPr>
          <p:nvPr/>
        </p:nvSpPr>
        <p:spPr>
          <a:xfrm>
            <a:off x="5684836" y="198438"/>
            <a:ext cx="3567113" cy="927100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pPr algn="ctr" eaLnBrk="1" fontAlgn="auto" hangingPunct="1">
              <a:spcAft>
                <a:spcPts val="0"/>
              </a:spcAft>
              <a:defRPr/>
            </a:pPr>
            <a:r>
              <a:rPr lang="es-ES_tradnl" sz="2000" dirty="0" smtClean="0">
                <a:solidFill>
                  <a:srgbClr val="C00000"/>
                </a:solidFill>
                <a:latin typeface="+mj-lt"/>
                <a:ea typeface="+mj-ea"/>
                <a:cs typeface="+mj-cs"/>
              </a:rPr>
              <a:t>REDES ÁREAS DE DESEMPEÑO</a:t>
            </a:r>
            <a:endParaRPr lang="es-ES" sz="2000" dirty="0">
              <a:solidFill>
                <a:srgbClr val="C00000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71" name="5 Imagen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1914" y="886112"/>
            <a:ext cx="1573659" cy="11551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17044203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1 Título"/>
          <p:cNvSpPr txBox="1">
            <a:spLocks/>
          </p:cNvSpPr>
          <p:nvPr/>
        </p:nvSpPr>
        <p:spPr>
          <a:xfrm>
            <a:off x="5612154" y="173093"/>
            <a:ext cx="3567113" cy="927100"/>
          </a:xfrm>
          <a:prstGeom prst="rect">
            <a:avLst/>
          </a:prstGeom>
        </p:spPr>
        <p:txBody>
          <a:bodyPr anchor="ctr">
            <a:normAutofit fontScale="85000" lnSpcReduction="20000"/>
          </a:bodyPr>
          <a:lstStyle/>
          <a:p>
            <a:pPr algn="ctr" eaLnBrk="1" fontAlgn="auto" hangingPunct="1">
              <a:spcAft>
                <a:spcPts val="0"/>
              </a:spcAft>
              <a:defRPr/>
            </a:pPr>
            <a:r>
              <a:rPr lang="es-ES_tradnl" sz="2000" dirty="0" err="1" smtClean="0">
                <a:solidFill>
                  <a:srgbClr val="C00000"/>
                </a:solidFill>
                <a:latin typeface="+mj-lt"/>
                <a:ea typeface="+mj-ea"/>
                <a:cs typeface="+mj-cs"/>
              </a:rPr>
              <a:t>Micrositio</a:t>
            </a:r>
            <a:r>
              <a:rPr lang="es-ES_tradnl" sz="2000" dirty="0" smtClean="0">
                <a:solidFill>
                  <a:srgbClr val="C00000"/>
                </a:solidFill>
                <a:latin typeface="+mj-lt"/>
                <a:ea typeface="+mj-ea"/>
                <a:cs typeface="+mj-cs"/>
              </a:rPr>
              <a:t> </a:t>
            </a:r>
          </a:p>
          <a:p>
            <a:pPr algn="ctr" eaLnBrk="1" fontAlgn="auto" hangingPunct="1">
              <a:spcAft>
                <a:spcPts val="0"/>
              </a:spcAft>
              <a:defRPr/>
            </a:pPr>
            <a:r>
              <a:rPr lang="es-ES_tradnl" sz="2000" dirty="0" smtClean="0">
                <a:solidFill>
                  <a:srgbClr val="C00000"/>
                </a:solidFill>
                <a:latin typeface="+mj-lt"/>
                <a:ea typeface="+mj-ea"/>
                <a:cs typeface="+mj-cs"/>
              </a:rPr>
              <a:t>PORTAL COLOMBIA APRENDE</a:t>
            </a:r>
          </a:p>
          <a:p>
            <a:pPr algn="ctr" eaLnBrk="1" fontAlgn="auto" hangingPunct="1">
              <a:spcAft>
                <a:spcPts val="0"/>
              </a:spcAft>
              <a:defRPr/>
            </a:pPr>
            <a:r>
              <a:rPr lang="es-ES_tradnl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  <a:hlinkClick r:id="rId2"/>
              </a:rPr>
              <a:t>www.colombiaaprende.edu.co /</a:t>
            </a:r>
            <a:r>
              <a:rPr lang="es-ES_tradnl" sz="20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  <a:hlinkClick r:id="rId2"/>
              </a:rPr>
              <a:t>educacionparaeltrabajo</a:t>
            </a:r>
            <a:endParaRPr lang="es-ES" sz="20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5316" y="5157192"/>
            <a:ext cx="2164706" cy="576064"/>
          </a:xfrm>
          <a:prstGeom prst="rect">
            <a:avLst/>
          </a:prstGeom>
          <a:noFill/>
          <a:ln w="9525">
            <a:solidFill>
              <a:srgbClr val="0070C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3" name="2 Flecha derecha"/>
          <p:cNvSpPr/>
          <p:nvPr/>
        </p:nvSpPr>
        <p:spPr>
          <a:xfrm>
            <a:off x="5870921" y="1700808"/>
            <a:ext cx="573287" cy="4320480"/>
          </a:xfrm>
          <a:prstGeom prst="rightArrow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square" lIns="91440" tIns="45720" rIns="91440" bIns="45720" rtlCol="0" anchor="ctr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endParaRPr lang="es-CO" sz="2000" cap="all" dirty="0" smtClean="0">
              <a:ln w="0"/>
              <a:gradFill flip="none">
                <a:gsLst>
                  <a:gs pos="0">
                    <a:schemeClr val="accent1">
                      <a:tint val="75000"/>
                      <a:shade val="75000"/>
                      <a:satMod val="170000"/>
                    </a:schemeClr>
                  </a:gs>
                  <a:gs pos="49000">
                    <a:schemeClr val="accent1">
                      <a:tint val="88000"/>
                      <a:shade val="65000"/>
                      <a:satMod val="172000"/>
                    </a:schemeClr>
                  </a:gs>
                  <a:gs pos="50000">
                    <a:schemeClr val="accent1">
                      <a:shade val="65000"/>
                      <a:satMod val="130000"/>
                    </a:schemeClr>
                  </a:gs>
                  <a:gs pos="92000">
                    <a:schemeClr val="accent1">
                      <a:shade val="50000"/>
                      <a:satMod val="120000"/>
                    </a:schemeClr>
                  </a:gs>
                  <a:gs pos="100000">
                    <a:schemeClr val="accent1">
                      <a:shade val="48000"/>
                      <a:satMod val="120000"/>
                    </a:schemeClr>
                  </a:gs>
                </a:gsLst>
                <a:lin ang="5400000"/>
              </a:gradFill>
              <a:effectLst>
                <a:reflection blurRad="12700" stA="50000" endPos="50000" dist="5000" dir="5400000" sy="-100000" rotWithShape="0"/>
              </a:effectLst>
              <a:latin typeface="Arial Rounded MT Bold" pitchFamily="34" charset="0"/>
            </a:endParaRPr>
          </a:p>
        </p:txBody>
      </p:sp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5314" y="3548084"/>
            <a:ext cx="2164708" cy="4569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5" name="Picture 5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5315" y="4121791"/>
            <a:ext cx="2164707" cy="3873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6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5314" y="4600657"/>
            <a:ext cx="2164708" cy="412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11 Rectángulo"/>
          <p:cNvSpPr/>
          <p:nvPr/>
        </p:nvSpPr>
        <p:spPr>
          <a:xfrm>
            <a:off x="6795316" y="2995646"/>
            <a:ext cx="2164706" cy="433354"/>
          </a:xfrm>
          <a:prstGeom prst="rect">
            <a:avLst/>
          </a:prstGeom>
          <a:solidFill>
            <a:srgbClr val="92D050"/>
          </a:solidFill>
          <a:ln>
            <a:solidFill>
              <a:srgbClr val="0070C0"/>
            </a:solidFill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s-ES_tradnl" sz="1050" b="1" dirty="0" smtClean="0">
                <a:solidFill>
                  <a:srgbClr val="0070C0"/>
                </a:solidFill>
              </a:rPr>
              <a:t>BLOGS DE INSTITUCIONES </a:t>
            </a:r>
          </a:p>
          <a:p>
            <a:pPr algn="just"/>
            <a:r>
              <a:rPr lang="es-ES_tradnl" sz="1050" b="1" dirty="0" smtClean="0">
                <a:solidFill>
                  <a:srgbClr val="0070C0"/>
                </a:solidFill>
              </a:rPr>
              <a:t>DE EDUCACIÓN PARA EL TRABAJO </a:t>
            </a:r>
            <a:endParaRPr lang="es-ES" sz="1050" b="1" dirty="0">
              <a:solidFill>
                <a:srgbClr val="0070C0"/>
              </a:solidFill>
            </a:endParaRPr>
          </a:p>
        </p:txBody>
      </p:sp>
      <p:pic>
        <p:nvPicPr>
          <p:cNvPr id="5127" name="Picture 7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7774" y="1435459"/>
            <a:ext cx="2164708" cy="337357"/>
          </a:xfrm>
          <a:prstGeom prst="rect">
            <a:avLst/>
          </a:prstGeom>
          <a:solidFill>
            <a:srgbClr val="92D050"/>
          </a:solidFill>
          <a:ln>
            <a:noFill/>
          </a:ln>
        </p:spPr>
      </p:pic>
      <p:sp>
        <p:nvSpPr>
          <p:cNvPr id="14" name="13 Rectángulo"/>
          <p:cNvSpPr/>
          <p:nvPr/>
        </p:nvSpPr>
        <p:spPr>
          <a:xfrm>
            <a:off x="6799782" y="2420888"/>
            <a:ext cx="2164706" cy="433354"/>
          </a:xfrm>
          <a:prstGeom prst="rect">
            <a:avLst/>
          </a:prstGeom>
          <a:solidFill>
            <a:srgbClr val="92D050"/>
          </a:solidFill>
          <a:ln>
            <a:solidFill>
              <a:srgbClr val="0070C0"/>
            </a:solidFill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_tradnl" sz="1600" b="1" dirty="0" smtClean="0">
                <a:solidFill>
                  <a:srgbClr val="0070C0"/>
                </a:solidFill>
              </a:rPr>
              <a:t>Redes  virtuales Internacionales</a:t>
            </a:r>
            <a:endParaRPr lang="es-ES" sz="1600" b="1" dirty="0">
              <a:solidFill>
                <a:srgbClr val="0070C0"/>
              </a:solidFill>
            </a:endParaRPr>
          </a:p>
        </p:txBody>
      </p:sp>
      <p:sp>
        <p:nvSpPr>
          <p:cNvPr id="15" name="14 Rectángulo"/>
          <p:cNvSpPr/>
          <p:nvPr/>
        </p:nvSpPr>
        <p:spPr>
          <a:xfrm>
            <a:off x="6799782" y="1844824"/>
            <a:ext cx="2164706" cy="433354"/>
          </a:xfrm>
          <a:prstGeom prst="rect">
            <a:avLst/>
          </a:prstGeom>
          <a:solidFill>
            <a:srgbClr val="92D050"/>
          </a:solidFill>
          <a:ln>
            <a:solidFill>
              <a:srgbClr val="0070C0"/>
            </a:solidFill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ES_tradnl" sz="1600" b="1" dirty="0" smtClean="0">
                <a:solidFill>
                  <a:srgbClr val="0070C0"/>
                </a:solidFill>
              </a:rPr>
              <a:t>Redes  virtuales Nacionales</a:t>
            </a:r>
            <a:endParaRPr lang="es-ES" sz="1600" b="1" dirty="0">
              <a:solidFill>
                <a:srgbClr val="0070C0"/>
              </a:solidFill>
            </a:endParaRPr>
          </a:p>
        </p:txBody>
      </p:sp>
      <p:pic>
        <p:nvPicPr>
          <p:cNvPr id="5128" name="Picture 8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15332" y="5682441"/>
            <a:ext cx="2144690" cy="542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173" y="1096586"/>
            <a:ext cx="4853923" cy="52127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="" xmlns:p14="http://schemas.microsoft.com/office/powerpoint/2010/main" val="3588075220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 advTm="31068"/>
    </mc:Choice>
    <mc:Fallback>
      <p:transition spd="slow" advTm="31068"/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1673641"/>
            <a:ext cx="8229600" cy="4203631"/>
          </a:xfrm>
        </p:spPr>
        <p:txBody>
          <a:bodyPr/>
          <a:lstStyle/>
          <a:p>
            <a:pPr lvl="0" algn="just"/>
            <a:r>
              <a:rPr lang="es-ES" sz="2400" b="1" dirty="0" smtClean="0">
                <a:solidFill>
                  <a:srgbClr val="FF0000"/>
                </a:solidFill>
              </a:rPr>
              <a:t>Consolidación</a:t>
            </a:r>
            <a:r>
              <a:rPr lang="es-ES" sz="2400" dirty="0" smtClean="0"/>
              <a:t> </a:t>
            </a:r>
            <a:r>
              <a:rPr lang="es-ES" sz="2400" dirty="0"/>
              <a:t>de la propuesta conceptual y metodológica del </a:t>
            </a:r>
            <a:r>
              <a:rPr lang="es-ES" sz="2400" b="1" dirty="0">
                <a:solidFill>
                  <a:srgbClr val="FF0000"/>
                </a:solidFill>
              </a:rPr>
              <a:t>Modelo de Aseguramiento de la </a:t>
            </a:r>
            <a:r>
              <a:rPr lang="es-ES" sz="2400" b="1" dirty="0" smtClean="0">
                <a:solidFill>
                  <a:srgbClr val="FF0000"/>
                </a:solidFill>
              </a:rPr>
              <a:t>Calidad.</a:t>
            </a:r>
          </a:p>
          <a:p>
            <a:pPr lvl="0" algn="just"/>
            <a:r>
              <a:rPr lang="es-ES" sz="2400" dirty="0" smtClean="0"/>
              <a:t>Realización </a:t>
            </a:r>
            <a:r>
              <a:rPr lang="es-ES" sz="2400" dirty="0"/>
              <a:t>de </a:t>
            </a:r>
            <a:r>
              <a:rPr lang="es-ES" sz="2400" b="1" dirty="0">
                <a:solidFill>
                  <a:srgbClr val="FF0000"/>
                </a:solidFill>
              </a:rPr>
              <a:t>talleres de socialización </a:t>
            </a:r>
            <a:r>
              <a:rPr lang="es-ES" sz="2400" dirty="0"/>
              <a:t>y retroalimentación del </a:t>
            </a:r>
            <a:r>
              <a:rPr lang="es-ES" sz="2400" b="1" dirty="0">
                <a:solidFill>
                  <a:srgbClr val="FF0000"/>
                </a:solidFill>
              </a:rPr>
              <a:t>Modelo de Aseguramiento de la Calidad</a:t>
            </a:r>
            <a:r>
              <a:rPr lang="es-ES" sz="2400" dirty="0">
                <a:solidFill>
                  <a:srgbClr val="FF0000"/>
                </a:solidFill>
              </a:rPr>
              <a:t> </a:t>
            </a:r>
            <a:r>
              <a:rPr lang="es-ES" sz="2400" dirty="0"/>
              <a:t>con Entidades Territoriales Certificadas e </a:t>
            </a:r>
            <a:r>
              <a:rPr lang="es-ES" sz="2400" dirty="0" smtClean="0"/>
              <a:t>Instituciones.</a:t>
            </a:r>
          </a:p>
          <a:p>
            <a:pPr algn="just"/>
            <a:r>
              <a:rPr lang="es-ES" sz="2400" b="1" dirty="0" smtClean="0">
                <a:solidFill>
                  <a:srgbClr val="FF0000"/>
                </a:solidFill>
              </a:rPr>
              <a:t>Participación</a:t>
            </a:r>
            <a:r>
              <a:rPr lang="es-ES" sz="2400" dirty="0" smtClean="0"/>
              <a:t> </a:t>
            </a:r>
            <a:r>
              <a:rPr lang="es-ES" sz="2400" dirty="0"/>
              <a:t>en </a:t>
            </a:r>
            <a:r>
              <a:rPr lang="es-ES" sz="2400" dirty="0" smtClean="0"/>
              <a:t>los </a:t>
            </a:r>
            <a:r>
              <a:rPr lang="es-ES" sz="2400" dirty="0"/>
              <a:t>procesos de </a:t>
            </a:r>
            <a:r>
              <a:rPr lang="es-ES" sz="2400" b="1" dirty="0">
                <a:solidFill>
                  <a:srgbClr val="FF0000"/>
                </a:solidFill>
              </a:rPr>
              <a:t>integración de los Modelos de Aseguramiento</a:t>
            </a:r>
            <a:r>
              <a:rPr lang="es-ES" sz="2400" b="1" dirty="0"/>
              <a:t> </a:t>
            </a:r>
            <a:r>
              <a:rPr lang="es-ES" sz="2400" dirty="0"/>
              <a:t>de la Calidad del Sistema Educativo Colombiano</a:t>
            </a:r>
            <a:endParaRPr lang="es-CO" sz="2400" dirty="0"/>
          </a:p>
          <a:p>
            <a:pPr marL="0" lvl="0" indent="0" algn="just">
              <a:buNone/>
            </a:pPr>
            <a:r>
              <a:rPr lang="es-ES" sz="2400" dirty="0" smtClean="0"/>
              <a:t> </a:t>
            </a:r>
            <a:endParaRPr lang="es-CO" sz="2400" dirty="0"/>
          </a:p>
        </p:txBody>
      </p:sp>
      <p:sp>
        <p:nvSpPr>
          <p:cNvPr id="4" name="3 CuadroTexto"/>
          <p:cNvSpPr txBox="1"/>
          <p:nvPr/>
        </p:nvSpPr>
        <p:spPr>
          <a:xfrm>
            <a:off x="5884594" y="476672"/>
            <a:ext cx="2986715" cy="584775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wrap="none" rtlCol="0">
            <a:spAutoFit/>
          </a:bodyPr>
          <a:lstStyle/>
          <a:p>
            <a:r>
              <a:rPr lang="es-CO" sz="3200" dirty="0">
                <a:solidFill>
                  <a:schemeClr val="bg1"/>
                </a:solidFill>
              </a:rPr>
              <a:t>LOGROS </a:t>
            </a:r>
            <a:r>
              <a:rPr lang="es-CO" sz="3200" dirty="0" smtClean="0">
                <a:solidFill>
                  <a:schemeClr val="bg1"/>
                </a:solidFill>
              </a:rPr>
              <a:t>2013</a:t>
            </a:r>
            <a:endParaRPr lang="es-CO" sz="3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5871714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1673641"/>
            <a:ext cx="8075240" cy="4203631"/>
          </a:xfrm>
        </p:spPr>
        <p:txBody>
          <a:bodyPr/>
          <a:lstStyle/>
          <a:p>
            <a:pPr lvl="0" algn="just"/>
            <a:r>
              <a:rPr lang="es-ES" sz="2400" b="1" dirty="0" smtClean="0">
                <a:solidFill>
                  <a:srgbClr val="FF0000"/>
                </a:solidFill>
              </a:rPr>
              <a:t>Análisis</a:t>
            </a:r>
            <a:r>
              <a:rPr lang="es-ES" sz="2400" dirty="0" smtClean="0"/>
              <a:t> </a:t>
            </a:r>
            <a:r>
              <a:rPr lang="es-ES" sz="2400" dirty="0"/>
              <a:t>de la </a:t>
            </a:r>
            <a:r>
              <a:rPr lang="es-ES" sz="2400" b="1" dirty="0">
                <a:solidFill>
                  <a:srgbClr val="FF0000"/>
                </a:solidFill>
              </a:rPr>
              <a:t>normatividad vigente </a:t>
            </a:r>
            <a:r>
              <a:rPr lang="es-ES" sz="2400" dirty="0"/>
              <a:t>de esta oferta educativa y </a:t>
            </a:r>
            <a:r>
              <a:rPr lang="es-ES" sz="2400" b="1" dirty="0" smtClean="0">
                <a:solidFill>
                  <a:srgbClr val="FF0000"/>
                </a:solidFill>
              </a:rPr>
              <a:t>propuesta de ajustes para </a:t>
            </a:r>
            <a:r>
              <a:rPr lang="es-ES" sz="2400" b="1" dirty="0">
                <a:solidFill>
                  <a:srgbClr val="FF0000"/>
                </a:solidFill>
              </a:rPr>
              <a:t>un NUEVO  marco </a:t>
            </a:r>
            <a:r>
              <a:rPr lang="es-ES" sz="2400" b="1" dirty="0" smtClean="0">
                <a:solidFill>
                  <a:srgbClr val="FF0000"/>
                </a:solidFill>
              </a:rPr>
              <a:t>regulatorio.</a:t>
            </a:r>
            <a:endParaRPr lang="es-CO" sz="2400" b="1" dirty="0">
              <a:solidFill>
                <a:srgbClr val="FF0000"/>
              </a:solidFill>
            </a:endParaRPr>
          </a:p>
          <a:p>
            <a:pPr algn="just"/>
            <a:r>
              <a:rPr lang="es-ES" sz="2400" dirty="0"/>
              <a:t>Participación </a:t>
            </a:r>
            <a:r>
              <a:rPr lang="es-ES" sz="2400" dirty="0" smtClean="0"/>
              <a:t>en </a:t>
            </a:r>
            <a:r>
              <a:rPr lang="es-ES" sz="2400" dirty="0"/>
              <a:t>el proyecto de </a:t>
            </a:r>
            <a:r>
              <a:rPr lang="es-ES" sz="2400" b="1" dirty="0">
                <a:solidFill>
                  <a:srgbClr val="FF0000"/>
                </a:solidFill>
              </a:rPr>
              <a:t>Modernización de la Educación Media y Tránsito a la </a:t>
            </a:r>
            <a:r>
              <a:rPr lang="es-ES" sz="2400" b="1" dirty="0" smtClean="0">
                <a:solidFill>
                  <a:srgbClr val="FF0000"/>
                </a:solidFill>
              </a:rPr>
              <a:t>Educación Terciaria.</a:t>
            </a:r>
          </a:p>
          <a:p>
            <a:pPr algn="just"/>
            <a:r>
              <a:rPr lang="es-ES" sz="2400" b="1" dirty="0" smtClean="0">
                <a:solidFill>
                  <a:srgbClr val="FF0000"/>
                </a:solidFill>
              </a:rPr>
              <a:t>Creación </a:t>
            </a:r>
            <a:r>
              <a:rPr lang="es-ES" sz="2400" b="1" dirty="0">
                <a:solidFill>
                  <a:srgbClr val="FF0000"/>
                </a:solidFill>
              </a:rPr>
              <a:t>del </a:t>
            </a:r>
            <a:r>
              <a:rPr lang="es-ES" sz="2400" b="1" dirty="0" err="1">
                <a:solidFill>
                  <a:srgbClr val="FF0000"/>
                </a:solidFill>
              </a:rPr>
              <a:t>Micrositio</a:t>
            </a:r>
            <a:r>
              <a:rPr lang="es-ES" sz="2400" dirty="0"/>
              <a:t>  de Educación para el Trabajo en el portal Colombia </a:t>
            </a:r>
            <a:r>
              <a:rPr lang="es-ES" sz="2400" dirty="0" smtClean="0"/>
              <a:t>Aprende.</a:t>
            </a:r>
            <a:endParaRPr lang="es-CO" sz="2400" dirty="0"/>
          </a:p>
          <a:p>
            <a:pPr algn="just"/>
            <a:r>
              <a:rPr lang="es-ES" sz="2400" dirty="0"/>
              <a:t>Acompañamiento a 50 entidades territoriales certificadas para el </a:t>
            </a:r>
            <a:r>
              <a:rPr lang="es-ES" sz="2400" b="1" dirty="0">
                <a:solidFill>
                  <a:srgbClr val="FF0000"/>
                </a:solidFill>
              </a:rPr>
              <a:t>fortalecimiento de la gestión con las Instituciones de Educación para el Trabajo</a:t>
            </a:r>
            <a:endParaRPr lang="es-CO" sz="2400" b="1" dirty="0">
              <a:solidFill>
                <a:srgbClr val="FF0000"/>
              </a:solidFill>
            </a:endParaRPr>
          </a:p>
          <a:p>
            <a:pPr marL="0" lvl="0" indent="0" algn="just">
              <a:buNone/>
            </a:pPr>
            <a:endParaRPr lang="es-CO" sz="2400" dirty="0"/>
          </a:p>
        </p:txBody>
      </p:sp>
      <p:sp>
        <p:nvSpPr>
          <p:cNvPr id="4" name="3 CuadroTexto"/>
          <p:cNvSpPr txBox="1"/>
          <p:nvPr/>
        </p:nvSpPr>
        <p:spPr>
          <a:xfrm>
            <a:off x="5884594" y="476672"/>
            <a:ext cx="2986715" cy="584775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wrap="none" rtlCol="0">
            <a:spAutoFit/>
          </a:bodyPr>
          <a:lstStyle/>
          <a:p>
            <a:r>
              <a:rPr lang="es-CO" sz="3200" dirty="0">
                <a:solidFill>
                  <a:schemeClr val="bg1"/>
                </a:solidFill>
              </a:rPr>
              <a:t>LOGROS </a:t>
            </a:r>
            <a:r>
              <a:rPr lang="es-CO" sz="3200" dirty="0" smtClean="0">
                <a:solidFill>
                  <a:schemeClr val="bg1"/>
                </a:solidFill>
              </a:rPr>
              <a:t>2013</a:t>
            </a:r>
            <a:endParaRPr lang="es-CO" sz="3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93473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1484784"/>
            <a:ext cx="8229600" cy="5112568"/>
          </a:xfrm>
        </p:spPr>
        <p:txBody>
          <a:bodyPr/>
          <a:lstStyle/>
          <a:p>
            <a:pPr lvl="0" algn="just">
              <a:spcBef>
                <a:spcPts val="1200"/>
              </a:spcBef>
            </a:pPr>
            <a:r>
              <a:rPr lang="es-ES" sz="2400" b="1" dirty="0" smtClean="0">
                <a:solidFill>
                  <a:srgbClr val="FF0000"/>
                </a:solidFill>
              </a:rPr>
              <a:t>Acompañamiento </a:t>
            </a:r>
            <a:r>
              <a:rPr lang="es-ES" sz="2400" b="1" dirty="0">
                <a:solidFill>
                  <a:srgbClr val="FF0000"/>
                </a:solidFill>
              </a:rPr>
              <a:t>a 60 Instituciones de Educación para el Trabajo</a:t>
            </a:r>
            <a:r>
              <a:rPr lang="es-ES" sz="2400" dirty="0"/>
              <a:t> en el proceso de implementación del </a:t>
            </a:r>
            <a:r>
              <a:rPr lang="es-ES" sz="2400" b="1" dirty="0">
                <a:solidFill>
                  <a:srgbClr val="FF0000"/>
                </a:solidFill>
              </a:rPr>
              <a:t>Sistema de </a:t>
            </a:r>
            <a:r>
              <a:rPr lang="es-ES" sz="2400" b="1" dirty="0" smtClean="0">
                <a:solidFill>
                  <a:srgbClr val="FF0000"/>
                </a:solidFill>
              </a:rPr>
              <a:t>Calidad </a:t>
            </a:r>
            <a:r>
              <a:rPr lang="es-ES" sz="2400" dirty="0"/>
              <a:t>de la Formación para el Trabajo</a:t>
            </a:r>
            <a:endParaRPr lang="es-CO" sz="2400" dirty="0"/>
          </a:p>
          <a:p>
            <a:pPr lvl="0" algn="just">
              <a:spcBef>
                <a:spcPts val="1200"/>
              </a:spcBef>
            </a:pPr>
            <a:r>
              <a:rPr lang="es-ES" sz="2400" b="1" dirty="0" smtClean="0">
                <a:solidFill>
                  <a:srgbClr val="FF0000"/>
                </a:solidFill>
              </a:rPr>
              <a:t>Talleres Regionales con Secretarías de Educación Certificadas </a:t>
            </a:r>
            <a:r>
              <a:rPr lang="es-ES" sz="2400" dirty="0" smtClean="0"/>
              <a:t>e Instituciones de Educación para el Trabajo</a:t>
            </a:r>
            <a:endParaRPr lang="es-CO" sz="2400" dirty="0" smtClean="0"/>
          </a:p>
          <a:p>
            <a:pPr lvl="0" algn="just">
              <a:spcBef>
                <a:spcPts val="1200"/>
              </a:spcBef>
            </a:pPr>
            <a:r>
              <a:rPr lang="es-ES" sz="2400" b="1" dirty="0" smtClean="0">
                <a:solidFill>
                  <a:srgbClr val="FF0000"/>
                </a:solidFill>
              </a:rPr>
              <a:t>Desarrollo</a:t>
            </a:r>
            <a:r>
              <a:rPr lang="es-ES" sz="2400" dirty="0" smtClean="0"/>
              <a:t> </a:t>
            </a:r>
            <a:r>
              <a:rPr lang="es-ES" sz="2400" dirty="0"/>
              <a:t>de la fase de </a:t>
            </a:r>
            <a:r>
              <a:rPr lang="es-ES" sz="2400" b="1" dirty="0">
                <a:solidFill>
                  <a:srgbClr val="FF0000"/>
                </a:solidFill>
              </a:rPr>
              <a:t>diseño</a:t>
            </a:r>
            <a:r>
              <a:rPr lang="es-ES" sz="2400" dirty="0"/>
              <a:t> del Sistema de </a:t>
            </a:r>
            <a:r>
              <a:rPr lang="es-ES" sz="2400" dirty="0" smtClean="0"/>
              <a:t>Información de aseguramiento </a:t>
            </a:r>
            <a:r>
              <a:rPr lang="es-ES" sz="2400" dirty="0"/>
              <a:t>de Educación para el Trabajo </a:t>
            </a:r>
            <a:r>
              <a:rPr lang="es-ES" sz="2800" dirty="0" smtClean="0"/>
              <a:t>- </a:t>
            </a:r>
            <a:r>
              <a:rPr lang="es-ES" sz="2800" b="1" dirty="0" smtClean="0">
                <a:solidFill>
                  <a:srgbClr val="FF0000"/>
                </a:solidFill>
              </a:rPr>
              <a:t>SIACET</a:t>
            </a:r>
            <a:r>
              <a:rPr lang="es-ES" sz="2800" dirty="0" smtClean="0"/>
              <a:t>  </a:t>
            </a:r>
            <a:endParaRPr lang="es-CO" sz="2800" dirty="0" smtClean="0"/>
          </a:p>
          <a:p>
            <a:pPr marL="0" indent="0" algn="just">
              <a:spcBef>
                <a:spcPts val="1200"/>
              </a:spcBef>
              <a:buNone/>
            </a:pPr>
            <a:endParaRPr lang="es-CO" sz="2800" dirty="0"/>
          </a:p>
        </p:txBody>
      </p:sp>
      <p:sp>
        <p:nvSpPr>
          <p:cNvPr id="4" name="3 CuadroTexto"/>
          <p:cNvSpPr txBox="1"/>
          <p:nvPr/>
        </p:nvSpPr>
        <p:spPr>
          <a:xfrm>
            <a:off x="5884594" y="476672"/>
            <a:ext cx="2986715" cy="584775"/>
          </a:xfrm>
          <a:prstGeom prst="rect">
            <a:avLst/>
          </a:prstGeom>
          <a:solidFill>
            <a:schemeClr val="accent2">
              <a:lumMod val="75000"/>
            </a:schemeClr>
          </a:solidFill>
        </p:spPr>
        <p:txBody>
          <a:bodyPr wrap="none" rtlCol="0">
            <a:spAutoFit/>
          </a:bodyPr>
          <a:lstStyle/>
          <a:p>
            <a:r>
              <a:rPr lang="es-CO" sz="3200" dirty="0">
                <a:solidFill>
                  <a:schemeClr val="bg1"/>
                </a:solidFill>
              </a:rPr>
              <a:t>LOGROS </a:t>
            </a:r>
            <a:r>
              <a:rPr lang="es-CO" sz="3200" dirty="0" smtClean="0">
                <a:solidFill>
                  <a:schemeClr val="bg1"/>
                </a:solidFill>
              </a:rPr>
              <a:t>2013</a:t>
            </a:r>
            <a:endParaRPr lang="es-CO" sz="3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450272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Rectángulo redondeado"/>
          <p:cNvSpPr/>
          <p:nvPr/>
        </p:nvSpPr>
        <p:spPr>
          <a:xfrm>
            <a:off x="179388" y="3330575"/>
            <a:ext cx="4267200" cy="2835275"/>
          </a:xfrm>
          <a:prstGeom prst="roundRect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>
              <a:defRPr/>
            </a:pPr>
            <a:endParaRPr lang="es-CO" sz="2000" dirty="0"/>
          </a:p>
          <a:p>
            <a:pPr>
              <a:defRPr/>
            </a:pPr>
            <a:endParaRPr lang="es-CO" sz="2000" dirty="0"/>
          </a:p>
          <a:p>
            <a:pPr>
              <a:defRPr/>
            </a:pPr>
            <a:endParaRPr lang="es-CO" sz="2000" dirty="0"/>
          </a:p>
          <a:p>
            <a:pPr>
              <a:defRPr/>
            </a:pPr>
            <a:endParaRPr lang="es-CO" sz="1400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es-CO" sz="1400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es-CO" sz="1400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es-CO" sz="14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es-CO" sz="1600" dirty="0">
                <a:solidFill>
                  <a:schemeClr val="tx1"/>
                </a:solidFill>
              </a:rPr>
              <a:t>ACCIONES PRIORITARIAS 2014 </a:t>
            </a:r>
          </a:p>
          <a:p>
            <a:pPr algn="ctr">
              <a:defRPr/>
            </a:pPr>
            <a:r>
              <a:rPr lang="es-CO" sz="1400" dirty="0">
                <a:solidFill>
                  <a:schemeClr val="tx1"/>
                </a:solidFill>
              </a:rPr>
              <a:t>       </a:t>
            </a:r>
          </a:p>
          <a:p>
            <a:pPr marL="228600" indent="-228600">
              <a:buFont typeface="+mj-lt"/>
              <a:buAutoNum type="arabicPeriod"/>
              <a:defRPr/>
            </a:pPr>
            <a:r>
              <a:rPr lang="es-CO" sz="1400" dirty="0">
                <a:solidFill>
                  <a:schemeClr val="tx1"/>
                </a:solidFill>
              </a:rPr>
              <a:t>IMPLEMENTACIÓN DEL MODELO DE ASEGURAMIENTO </a:t>
            </a:r>
            <a:r>
              <a:rPr lang="es-CO" sz="1400" dirty="0" smtClean="0">
                <a:solidFill>
                  <a:schemeClr val="tx1"/>
                </a:solidFill>
              </a:rPr>
              <a:t>DE CALIDAD.                                                                  </a:t>
            </a:r>
            <a:endParaRPr lang="es-CO" sz="1400" dirty="0">
              <a:solidFill>
                <a:schemeClr val="tx1"/>
              </a:solidFill>
            </a:endParaRPr>
          </a:p>
          <a:p>
            <a:pPr marL="228600" indent="-228600">
              <a:buFont typeface="+mj-lt"/>
              <a:buAutoNum type="arabicPeriod"/>
              <a:defRPr/>
            </a:pPr>
            <a:r>
              <a:rPr lang="es-CO" sz="1400" dirty="0">
                <a:solidFill>
                  <a:schemeClr val="tx1"/>
                </a:solidFill>
              </a:rPr>
              <a:t>REALIZACIÓN  DE PILOTO DE REDES  CON MINISTERIO DE TRABAJO Y SENA.                             </a:t>
            </a:r>
          </a:p>
          <a:p>
            <a:pPr marL="228600" indent="-228600">
              <a:buFont typeface="+mj-lt"/>
              <a:buAutoNum type="arabicPeriod"/>
              <a:defRPr/>
            </a:pPr>
            <a:r>
              <a:rPr lang="es-CO" sz="1400" dirty="0">
                <a:solidFill>
                  <a:schemeClr val="tx1"/>
                </a:solidFill>
              </a:rPr>
              <a:t>MEJORAMIENTO DE LA GESTIÓN DE ET EN LAS SEC Y EN EL MEN. </a:t>
            </a:r>
          </a:p>
          <a:p>
            <a:pPr marL="228600" indent="-228600">
              <a:buFont typeface="+mj-lt"/>
              <a:buAutoNum type="arabicPeriod"/>
              <a:defRPr/>
            </a:pPr>
            <a:r>
              <a:rPr lang="es-CO" sz="1400" dirty="0">
                <a:solidFill>
                  <a:schemeClr val="tx1"/>
                </a:solidFill>
              </a:rPr>
              <a:t>ASISTENCIA TÉCNICA  INTEGRAL A ET.  </a:t>
            </a:r>
          </a:p>
          <a:p>
            <a:pPr marL="228600" indent="-228600">
              <a:buFont typeface="+mj-lt"/>
              <a:buAutoNum type="arabicPeriod"/>
              <a:defRPr/>
            </a:pPr>
            <a:r>
              <a:rPr lang="es-CO" sz="1400" dirty="0">
                <a:solidFill>
                  <a:schemeClr val="tx1"/>
                </a:solidFill>
              </a:rPr>
              <a:t>ACOMPAÑAMIENTO A  IET EN PROCESO CERTIFICACIÓN.</a:t>
            </a:r>
          </a:p>
          <a:p>
            <a:pPr marL="228600" indent="-228600">
              <a:buFont typeface="+mj-lt"/>
              <a:buAutoNum type="arabicPeriod"/>
              <a:defRPr/>
            </a:pPr>
            <a:endParaRPr lang="es-CO" sz="1200" dirty="0"/>
          </a:p>
          <a:p>
            <a:pPr>
              <a:defRPr/>
            </a:pPr>
            <a:endParaRPr lang="es-CO" sz="1200" dirty="0"/>
          </a:p>
          <a:p>
            <a:pPr>
              <a:defRPr/>
            </a:pPr>
            <a:endParaRPr lang="es-CO" sz="2000" dirty="0"/>
          </a:p>
          <a:p>
            <a:pPr algn="ctr">
              <a:defRPr/>
            </a:pPr>
            <a:endParaRPr lang="es-CO" dirty="0"/>
          </a:p>
          <a:p>
            <a:pPr>
              <a:defRPr/>
            </a:pPr>
            <a:endParaRPr lang="es-CO" sz="1200" dirty="0"/>
          </a:p>
          <a:p>
            <a:pPr algn="ctr">
              <a:defRPr/>
            </a:pPr>
            <a:endParaRPr lang="es-CO" dirty="0"/>
          </a:p>
        </p:txBody>
      </p:sp>
      <p:sp>
        <p:nvSpPr>
          <p:cNvPr id="10" name="9 Rectángulo redondeado"/>
          <p:cNvSpPr/>
          <p:nvPr/>
        </p:nvSpPr>
        <p:spPr>
          <a:xfrm>
            <a:off x="4643438" y="3330575"/>
            <a:ext cx="4392612" cy="2835275"/>
          </a:xfrm>
          <a:prstGeom prst="round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>
              <a:defRPr/>
            </a:pPr>
            <a:endParaRPr lang="es-CO" sz="2000" dirty="0"/>
          </a:p>
          <a:p>
            <a:pPr>
              <a:defRPr/>
            </a:pPr>
            <a:endParaRPr lang="es-CO" sz="2000" dirty="0"/>
          </a:p>
          <a:p>
            <a:pPr algn="ctr">
              <a:defRPr/>
            </a:pPr>
            <a:endParaRPr lang="es-CO" sz="1400" dirty="0"/>
          </a:p>
          <a:p>
            <a:pPr algn="ctr">
              <a:defRPr/>
            </a:pPr>
            <a:endParaRPr lang="es-CO" sz="14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es-CO" sz="1600" dirty="0">
                <a:solidFill>
                  <a:schemeClr val="tx1"/>
                </a:solidFill>
              </a:rPr>
              <a:t>ESTRATEGIAS BASE PARA  PROSPECTIVA 2015-2019</a:t>
            </a:r>
          </a:p>
          <a:p>
            <a:pPr algn="ctr">
              <a:defRPr/>
            </a:pPr>
            <a:endParaRPr lang="es-CO" sz="1400" dirty="0">
              <a:solidFill>
                <a:schemeClr val="tx1"/>
              </a:solidFill>
            </a:endParaRPr>
          </a:p>
          <a:p>
            <a:pPr marL="342900" indent="-342900">
              <a:buFontTx/>
              <a:buAutoNum type="arabicPeriod"/>
              <a:defRPr/>
            </a:pPr>
            <a:r>
              <a:rPr lang="es-CO" sz="1400" dirty="0">
                <a:solidFill>
                  <a:schemeClr val="tx1"/>
                </a:solidFill>
              </a:rPr>
              <a:t>DEFINIR ET COMO ALTERNATIVA EN LA POS SECUNDARIA - TERCIARIA.</a:t>
            </a:r>
          </a:p>
          <a:p>
            <a:pPr marL="342900" indent="-342900">
              <a:buFontTx/>
              <a:buAutoNum type="arabicPeriod"/>
              <a:defRPr/>
            </a:pPr>
            <a:r>
              <a:rPr lang="es-CO" sz="1400" dirty="0">
                <a:solidFill>
                  <a:schemeClr val="tx1"/>
                </a:solidFill>
              </a:rPr>
              <a:t>DEFINIR POLÍTICA NACIONAL  DESDE ENFOQUE MUNDIAL DE LA ET.</a:t>
            </a:r>
          </a:p>
          <a:p>
            <a:pPr marL="342900" indent="-342900">
              <a:buFontTx/>
              <a:buAutoNum type="arabicPeriod"/>
              <a:defRPr/>
            </a:pPr>
            <a:r>
              <a:rPr lang="es-CO" sz="1400" dirty="0">
                <a:solidFill>
                  <a:schemeClr val="tx1"/>
                </a:solidFill>
              </a:rPr>
              <a:t>DEFINIR DESDE EL </a:t>
            </a:r>
            <a:r>
              <a:rPr lang="es-CO" sz="1400" dirty="0" smtClean="0">
                <a:solidFill>
                  <a:schemeClr val="tx1"/>
                </a:solidFill>
              </a:rPr>
              <a:t>MEN  </a:t>
            </a:r>
            <a:r>
              <a:rPr lang="es-CO" sz="1400" dirty="0">
                <a:solidFill>
                  <a:schemeClr val="tx1"/>
                </a:solidFill>
              </a:rPr>
              <a:t>DIRECCIÓN PARA ORIENTAR ET EN EL PAIS.</a:t>
            </a:r>
          </a:p>
          <a:p>
            <a:pPr marL="342900" indent="-342900">
              <a:buFontTx/>
              <a:buAutoNum type="arabicPeriod"/>
              <a:defRPr/>
            </a:pPr>
            <a:r>
              <a:rPr lang="es-CO" sz="1400" dirty="0">
                <a:solidFill>
                  <a:schemeClr val="tx1"/>
                </a:solidFill>
              </a:rPr>
              <a:t>DEFINIR MARCO REGULATORIO  DE LA ET</a:t>
            </a:r>
          </a:p>
          <a:p>
            <a:pPr marL="342900" indent="-342900">
              <a:buFontTx/>
              <a:buAutoNum type="arabicPeriod"/>
              <a:defRPr/>
            </a:pPr>
            <a:r>
              <a:rPr lang="es-CO" sz="1400" dirty="0">
                <a:solidFill>
                  <a:schemeClr val="tx1"/>
                </a:solidFill>
              </a:rPr>
              <a:t>CONSOLIDAR MODELO DE ASEGURAMIENTO DE LA CALIDAD.</a:t>
            </a:r>
          </a:p>
          <a:p>
            <a:pPr>
              <a:defRPr/>
            </a:pPr>
            <a:endParaRPr lang="es-CO" sz="1400" dirty="0"/>
          </a:p>
          <a:p>
            <a:pPr>
              <a:defRPr/>
            </a:pPr>
            <a:endParaRPr lang="es-CO" sz="1400" dirty="0"/>
          </a:p>
          <a:p>
            <a:pPr>
              <a:defRPr/>
            </a:pPr>
            <a:endParaRPr lang="es-CO" dirty="0"/>
          </a:p>
          <a:p>
            <a:pPr algn="ctr">
              <a:defRPr/>
            </a:pPr>
            <a:endParaRPr lang="es-CO" dirty="0"/>
          </a:p>
        </p:txBody>
      </p:sp>
      <p:sp>
        <p:nvSpPr>
          <p:cNvPr id="11" name="10 Elipse"/>
          <p:cNvSpPr/>
          <p:nvPr/>
        </p:nvSpPr>
        <p:spPr>
          <a:xfrm>
            <a:off x="1547813" y="1196975"/>
            <a:ext cx="6048375" cy="1906588"/>
          </a:xfrm>
          <a:prstGeom prst="ellipse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s-CO" sz="1600" dirty="0">
                <a:solidFill>
                  <a:schemeClr val="tx1"/>
                </a:solidFill>
              </a:rPr>
              <a:t>RETOS Y DESAFIOS</a:t>
            </a:r>
          </a:p>
          <a:p>
            <a:pPr algn="ctr">
              <a:defRPr/>
            </a:pPr>
            <a:r>
              <a:rPr lang="es-CO" sz="1400" dirty="0">
                <a:solidFill>
                  <a:schemeClr val="tx1"/>
                </a:solidFill>
              </a:rPr>
              <a:t>* RECONOCIMIENTO</a:t>
            </a:r>
          </a:p>
          <a:p>
            <a:pPr algn="ctr">
              <a:defRPr/>
            </a:pPr>
            <a:r>
              <a:rPr lang="es-CO" sz="1400" dirty="0">
                <a:solidFill>
                  <a:schemeClr val="tx1"/>
                </a:solidFill>
              </a:rPr>
              <a:t>* CALIDAD</a:t>
            </a:r>
          </a:p>
          <a:p>
            <a:pPr algn="ctr">
              <a:defRPr/>
            </a:pPr>
            <a:r>
              <a:rPr lang="es-CO" sz="1400" dirty="0">
                <a:solidFill>
                  <a:schemeClr val="tx1"/>
                </a:solidFill>
              </a:rPr>
              <a:t>* FORTALECIMIENTO INSTITUCIONAL</a:t>
            </a:r>
          </a:p>
          <a:p>
            <a:pPr algn="ctr">
              <a:defRPr/>
            </a:pPr>
            <a:r>
              <a:rPr lang="es-CO" sz="1400" dirty="0">
                <a:solidFill>
                  <a:schemeClr val="tx1"/>
                </a:solidFill>
              </a:rPr>
              <a:t>* CONSOLIDACIÓN DE REDES </a:t>
            </a:r>
          </a:p>
          <a:p>
            <a:pPr algn="ctr">
              <a:defRPr/>
            </a:pPr>
            <a:r>
              <a:rPr lang="es-CO" sz="1400" dirty="0">
                <a:solidFill>
                  <a:schemeClr val="tx1"/>
                </a:solidFill>
              </a:rPr>
              <a:t>* ARTICULACIÓN CON EDUCACIÓN MEDIA Y SUPERIOR</a:t>
            </a:r>
          </a:p>
          <a:p>
            <a:pPr algn="ctr">
              <a:defRPr/>
            </a:pPr>
            <a:r>
              <a:rPr lang="es-CO" sz="1400" dirty="0">
                <a:solidFill>
                  <a:schemeClr val="tx1"/>
                </a:solidFill>
              </a:rPr>
              <a:t>* TRABAJO EN EQUIPO INTERMINISTERIAL E INTERINSTITUCIONAL</a:t>
            </a:r>
          </a:p>
          <a:p>
            <a:pPr algn="ctr">
              <a:defRPr/>
            </a:pPr>
            <a:endParaRPr lang="es-CO" sz="900" dirty="0"/>
          </a:p>
        </p:txBody>
      </p:sp>
      <p:sp>
        <p:nvSpPr>
          <p:cNvPr id="12" name="11 Flecha abajo"/>
          <p:cNvSpPr/>
          <p:nvPr/>
        </p:nvSpPr>
        <p:spPr>
          <a:xfrm rot="1582206">
            <a:off x="2413000" y="2763838"/>
            <a:ext cx="654050" cy="603250"/>
          </a:xfrm>
          <a:prstGeom prst="downArrow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CO"/>
          </a:p>
        </p:txBody>
      </p:sp>
      <p:sp>
        <p:nvSpPr>
          <p:cNvPr id="13" name="12 Flecha abajo"/>
          <p:cNvSpPr/>
          <p:nvPr/>
        </p:nvSpPr>
        <p:spPr>
          <a:xfrm rot="19809603">
            <a:off x="5611813" y="2789238"/>
            <a:ext cx="598487" cy="574675"/>
          </a:xfrm>
          <a:prstGeom prst="downArrow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CO"/>
          </a:p>
        </p:txBody>
      </p:sp>
    </p:spTree>
    <p:extLst>
      <p:ext uri="{BB962C8B-B14F-4D97-AF65-F5344CB8AC3E}">
        <p14:creationId xmlns="" xmlns:p14="http://schemas.microsoft.com/office/powerpoint/2010/main" val="40982146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5" descr="MCj04280650000[1]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3765" y="481038"/>
            <a:ext cx="2098675" cy="1279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2" descr="C:\Users\nccorrea\AppData\Local\Microsoft\Windows\Temporary Internet Files\Content.Outlook\TV2EC4KB\images (2)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5924" y="1777182"/>
            <a:ext cx="7996596" cy="43924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1594931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9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103734" y="1772816"/>
            <a:ext cx="5420594" cy="668396"/>
          </a:xfrm>
          <a:prstGeom prst="roundRect">
            <a:avLst>
              <a:gd name="adj" fmla="val 50000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wrap="none" anchor="ctr"/>
          <a:lstStyle/>
          <a:p>
            <a:pPr>
              <a:defRPr/>
            </a:pPr>
            <a:endParaRPr lang="en-GB" sz="2000" b="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7" name="Rectangle 10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338783" y="2025713"/>
            <a:ext cx="4969744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266700" lvl="1" indent="-266700" defTabSz="895350">
              <a:spcBef>
                <a:spcPct val="60000"/>
              </a:spcBef>
              <a:spcAft>
                <a:spcPct val="60000"/>
              </a:spcAft>
              <a:buClr>
                <a:schemeClr val="bg1"/>
              </a:buClr>
              <a:buFont typeface="Wingdings" pitchFamily="2" charset="2"/>
              <a:buChar char="§"/>
              <a:defRPr/>
            </a:pPr>
            <a:r>
              <a:rPr lang="es-CO" sz="1800" dirty="0" smtClean="0">
                <a:solidFill>
                  <a:srgbClr val="5F5F5F"/>
                </a:solidFill>
              </a:rPr>
              <a:t>Contexto</a:t>
            </a:r>
            <a:endParaRPr lang="es-CO" sz="1800" dirty="0">
              <a:solidFill>
                <a:srgbClr val="5F5F5F"/>
              </a:solidFill>
            </a:endParaRPr>
          </a:p>
        </p:txBody>
      </p:sp>
      <p:sp>
        <p:nvSpPr>
          <p:cNvPr id="8" name="AutoShape 9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103734" y="2657236"/>
            <a:ext cx="5420594" cy="668396"/>
          </a:xfrm>
          <a:prstGeom prst="roundRect">
            <a:avLst>
              <a:gd name="adj" fmla="val 50000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wrap="none" anchor="ctr"/>
          <a:lstStyle/>
          <a:p>
            <a:pPr>
              <a:defRPr/>
            </a:pPr>
            <a:endParaRPr lang="en-GB" sz="2000" b="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9" name="Rectangle 10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338783" y="2910133"/>
            <a:ext cx="4969744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266700" lvl="1" indent="-266700" defTabSz="895350">
              <a:spcBef>
                <a:spcPct val="60000"/>
              </a:spcBef>
              <a:spcAft>
                <a:spcPct val="60000"/>
              </a:spcAft>
              <a:buClr>
                <a:schemeClr val="bg1"/>
              </a:buClr>
              <a:buFont typeface="Wingdings" pitchFamily="2" charset="2"/>
              <a:buChar char="§"/>
              <a:defRPr/>
            </a:pPr>
            <a:r>
              <a:rPr lang="es-CO" sz="1800" dirty="0" smtClean="0">
                <a:solidFill>
                  <a:srgbClr val="5F5F5F"/>
                </a:solidFill>
              </a:rPr>
              <a:t>Estado actual</a:t>
            </a:r>
            <a:endParaRPr lang="es-CO" sz="1800" dirty="0">
              <a:solidFill>
                <a:srgbClr val="5F5F5F"/>
              </a:solidFill>
            </a:endParaRPr>
          </a:p>
        </p:txBody>
      </p:sp>
      <p:sp>
        <p:nvSpPr>
          <p:cNvPr id="10" name="AutoShape 9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2103734" y="3521332"/>
            <a:ext cx="5420594" cy="668396"/>
          </a:xfrm>
          <a:prstGeom prst="roundRect">
            <a:avLst>
              <a:gd name="adj" fmla="val 50000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wrap="none" anchor="ctr"/>
          <a:lstStyle/>
          <a:p>
            <a:pPr>
              <a:defRPr/>
            </a:pPr>
            <a:endParaRPr lang="en-GB" sz="2000" b="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1" name="Rectangle 10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338783" y="3774229"/>
            <a:ext cx="4969744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266700" lvl="1" indent="-266700" defTabSz="895350">
              <a:spcBef>
                <a:spcPct val="60000"/>
              </a:spcBef>
              <a:spcAft>
                <a:spcPct val="60000"/>
              </a:spcAft>
              <a:buClr>
                <a:schemeClr val="bg1"/>
              </a:buClr>
              <a:buFont typeface="Wingdings" pitchFamily="2" charset="2"/>
              <a:buChar char="§"/>
              <a:defRPr/>
            </a:pPr>
            <a:r>
              <a:rPr lang="es-CO" sz="1800" dirty="0" smtClean="0">
                <a:solidFill>
                  <a:srgbClr val="5F5F5F"/>
                </a:solidFill>
              </a:rPr>
              <a:t>Modelo estratégico</a:t>
            </a:r>
            <a:endParaRPr lang="es-CO" sz="1800" dirty="0">
              <a:solidFill>
                <a:srgbClr val="5F5F5F"/>
              </a:solidFill>
            </a:endParaRPr>
          </a:p>
        </p:txBody>
      </p:sp>
      <p:sp>
        <p:nvSpPr>
          <p:cNvPr id="12" name="Rectangle 5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 flipH="1">
            <a:off x="6697140" y="5394701"/>
            <a:ext cx="1907308" cy="677689"/>
          </a:xfrm>
          <a:prstGeom prst="rect">
            <a:avLst/>
          </a:prstGeom>
          <a:solidFill>
            <a:srgbClr val="FFFF00"/>
          </a:solidFill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>
              <a:defRPr/>
            </a:pPr>
            <a:endParaRPr lang="en-GB" sz="2000" b="0"/>
          </a:p>
        </p:txBody>
      </p:sp>
      <p:sp>
        <p:nvSpPr>
          <p:cNvPr id="13" name="AutoShape 6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 flipH="1">
            <a:off x="6698952" y="5322694"/>
            <a:ext cx="1041400" cy="770602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GB" sz="2000" b="0"/>
          </a:p>
        </p:txBody>
      </p:sp>
      <p:sp>
        <p:nvSpPr>
          <p:cNvPr id="14" name="Rectangle 7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755576" y="5394701"/>
            <a:ext cx="1670274" cy="698595"/>
          </a:xfrm>
          <a:prstGeom prst="rect">
            <a:avLst/>
          </a:prstGeom>
          <a:solidFill>
            <a:srgbClr val="FFFF00"/>
          </a:solidFill>
          <a:ln>
            <a:headEnd/>
            <a:tailEnd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wrap="none" anchor="ctr"/>
          <a:lstStyle/>
          <a:p>
            <a:pPr>
              <a:defRPr/>
            </a:pPr>
            <a:endParaRPr lang="en-GB" sz="2000" b="0"/>
          </a:p>
        </p:txBody>
      </p:sp>
      <p:sp>
        <p:nvSpPr>
          <p:cNvPr id="15" name="AutoShape 8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1771353" y="5322693"/>
            <a:ext cx="1107976" cy="770603"/>
          </a:xfrm>
          <a:prstGeom prst="roundRect">
            <a:avLst>
              <a:gd name="adj" fmla="val 50000"/>
            </a:avLst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/>
            <a:endParaRPr lang="en-GB" sz="2000"/>
          </a:p>
        </p:txBody>
      </p:sp>
      <p:sp>
        <p:nvSpPr>
          <p:cNvPr id="16" name="AutoShape 9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2068215" y="5395272"/>
            <a:ext cx="5456337" cy="698023"/>
          </a:xfrm>
          <a:prstGeom prst="roundRect">
            <a:avLst>
              <a:gd name="adj" fmla="val 50000"/>
            </a:avLst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wrap="none" anchor="ctr"/>
          <a:lstStyle/>
          <a:p>
            <a:pPr>
              <a:defRPr/>
            </a:pPr>
            <a:endParaRPr lang="en-GB" sz="1600" b="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7" name="Rectangle 10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2303264" y="5626114"/>
            <a:ext cx="5221288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 anchor="ctr">
            <a:spAutoFit/>
          </a:bodyPr>
          <a:lstStyle/>
          <a:p>
            <a:pPr marL="266700" lvl="1" indent="-266700" defTabSz="895350">
              <a:spcBef>
                <a:spcPct val="60000"/>
              </a:spcBef>
              <a:spcAft>
                <a:spcPct val="60000"/>
              </a:spcAft>
              <a:buClr>
                <a:schemeClr val="bg1"/>
              </a:buClr>
              <a:buFont typeface="Wingdings" pitchFamily="2" charset="2"/>
              <a:buChar char="§"/>
              <a:defRPr/>
            </a:pPr>
            <a:r>
              <a:rPr lang="es-CO" sz="1800" dirty="0" smtClean="0">
                <a:ln w="18415" cmpd="sng">
                  <a:noFill/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ea typeface="MS PGothic" pitchFamily="34" charset="-128"/>
              </a:rPr>
              <a:t>Gestión desde las Entidades Territoriales</a:t>
            </a:r>
            <a:endParaRPr lang="es-CO" sz="1800" dirty="0">
              <a:ln w="18415" cmpd="sng">
                <a:noFill/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  <a:ea typeface="MS PGothic" pitchFamily="34" charset="-128"/>
            </a:endParaRPr>
          </a:p>
        </p:txBody>
      </p:sp>
      <p:sp>
        <p:nvSpPr>
          <p:cNvPr id="18" name="AutoShape 9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2103734" y="4416788"/>
            <a:ext cx="5420594" cy="668396"/>
          </a:xfrm>
          <a:prstGeom prst="roundRect">
            <a:avLst>
              <a:gd name="adj" fmla="val 50000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wrap="none" anchor="ctr"/>
          <a:lstStyle/>
          <a:p>
            <a:pPr>
              <a:defRPr/>
            </a:pPr>
            <a:endParaRPr lang="en-GB" sz="2000" b="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sp>
        <p:nvSpPr>
          <p:cNvPr id="19" name="Rectangle 10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2338783" y="4669685"/>
            <a:ext cx="4969744" cy="2769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 marL="266700" lvl="1" indent="-266700" defTabSz="895350">
              <a:spcBef>
                <a:spcPct val="60000"/>
              </a:spcBef>
              <a:spcAft>
                <a:spcPct val="60000"/>
              </a:spcAft>
              <a:buClr>
                <a:schemeClr val="bg1"/>
              </a:buClr>
              <a:buFont typeface="Wingdings" pitchFamily="2" charset="2"/>
              <a:buChar char="§"/>
              <a:defRPr/>
            </a:pPr>
            <a:r>
              <a:rPr lang="es-CO" sz="1800" dirty="0" smtClean="0">
                <a:solidFill>
                  <a:srgbClr val="5F5F5F"/>
                </a:solidFill>
              </a:rPr>
              <a:t>Sistema de aseguramiento</a:t>
            </a:r>
            <a:endParaRPr lang="es-CO" sz="1800" dirty="0">
              <a:solidFill>
                <a:srgbClr val="5F5F5F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57200" y="1817657"/>
            <a:ext cx="8219256" cy="3987607"/>
          </a:xfr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/>
          <a:lstStyle/>
          <a:p>
            <a:pPr marL="0" indent="0" algn="just">
              <a:spcBef>
                <a:spcPts val="0"/>
              </a:spcBef>
              <a:buNone/>
            </a:pPr>
            <a:r>
              <a:rPr lang="es-ES" sz="2800" dirty="0" smtClean="0"/>
              <a:t>Realizar asistencia técnica a 50 entidades territoriales certificadas en los departamentos designados por el MEN, para identificar buenas prácticas conducentes a definir estrategias y lineamientos para la adopción del modelo de aseguramiento de la calidad y el fortalecimiento de la gestión con las instituciones de educación para el trabajo y desarrollo humano.</a:t>
            </a:r>
            <a:endParaRPr lang="es-ES" sz="2800" dirty="0"/>
          </a:p>
        </p:txBody>
      </p:sp>
      <p:sp>
        <p:nvSpPr>
          <p:cNvPr id="4" name="Rectangle 3"/>
          <p:cNvSpPr txBox="1">
            <a:spLocks noChangeArrowheads="1"/>
          </p:cNvSpPr>
          <p:nvPr/>
        </p:nvSpPr>
        <p:spPr bwMode="auto">
          <a:xfrm>
            <a:off x="5652120" y="405036"/>
            <a:ext cx="323513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s-ES_tradnl" sz="2800" b="1" dirty="0" smtClean="0">
                <a:solidFill>
                  <a:srgbClr val="990000"/>
                </a:solidFill>
                <a:latin typeface="+mj-lt"/>
                <a:ea typeface="+mj-ea"/>
              </a:rPr>
              <a:t>OBJETO</a:t>
            </a:r>
            <a:endParaRPr lang="es-ES" sz="2800" b="1" dirty="0">
              <a:solidFill>
                <a:srgbClr val="990000"/>
              </a:solidFill>
              <a:latin typeface="+mj-lt"/>
              <a:ea typeface="+mj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a 8"/>
          <p:cNvGraphicFramePr/>
          <p:nvPr>
            <p:extLst>
              <p:ext uri="{D42A27DB-BD31-4B8C-83A1-F6EECF244321}">
                <p14:modId xmlns="" xmlns:p14="http://schemas.microsoft.com/office/powerpoint/2010/main" val="439502073"/>
              </p:ext>
            </p:extLst>
          </p:nvPr>
        </p:nvGraphicFramePr>
        <p:xfrm>
          <a:off x="0" y="1700808"/>
          <a:ext cx="9144000" cy="43924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Rectangle 3"/>
          <p:cNvSpPr txBox="1">
            <a:spLocks noChangeArrowheads="1"/>
          </p:cNvSpPr>
          <p:nvPr/>
        </p:nvSpPr>
        <p:spPr bwMode="auto">
          <a:xfrm>
            <a:off x="5652120" y="405036"/>
            <a:ext cx="323513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s-ES_tradnl" sz="2800" b="1" dirty="0" smtClean="0">
                <a:solidFill>
                  <a:srgbClr val="990000"/>
                </a:solidFill>
                <a:latin typeface="+mj-lt"/>
                <a:ea typeface="+mj-ea"/>
              </a:rPr>
              <a:t>Estudio inicial</a:t>
            </a:r>
            <a:endParaRPr lang="es-ES" sz="2800" b="1" dirty="0">
              <a:solidFill>
                <a:srgbClr val="990000"/>
              </a:solidFill>
              <a:latin typeface="+mj-lt"/>
              <a:ea typeface="+mj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83568" y="2141984"/>
            <a:ext cx="8229600" cy="1143000"/>
          </a:xfrm>
        </p:spPr>
        <p:txBody>
          <a:bodyPr/>
          <a:lstStyle/>
          <a:p>
            <a:r>
              <a:rPr lang="es-ES_tradnl" dirty="0" smtClean="0"/>
              <a:t>Conclusiones del convenio</a:t>
            </a:r>
            <a:endParaRPr lang="es-E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403648" y="3717032"/>
            <a:ext cx="6550415" cy="1350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CuadroTexto"/>
          <p:cNvSpPr txBox="1"/>
          <p:nvPr/>
        </p:nvSpPr>
        <p:spPr>
          <a:xfrm>
            <a:off x="539552" y="1738258"/>
            <a:ext cx="8280920" cy="4355038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es-CO" sz="2800" b="0" dirty="0" smtClean="0"/>
              <a:t>Falta de Política Nacional para ETDH y su inclusión en la Estructura del Sistema Educativo. </a:t>
            </a:r>
          </a:p>
          <a:p>
            <a:pPr lvl="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es-CO" sz="2800" b="0" dirty="0" smtClean="0"/>
              <a:t>Desorganización de oferta de la FTDH.</a:t>
            </a:r>
          </a:p>
          <a:p>
            <a:pPr lvl="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es-CO" sz="2800" b="0" dirty="0" smtClean="0"/>
              <a:t>Múltiple Legislación (Ley 115/94 : No formal, ley 1064/2006 – FTDH, ley 119/94 – SENA  Formación Profesional Integral). </a:t>
            </a:r>
          </a:p>
          <a:p>
            <a:pPr lvl="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es-CO" sz="2800" b="0" dirty="0" smtClean="0"/>
              <a:t>Ausencia de niveles y grados.</a:t>
            </a:r>
          </a:p>
          <a:p>
            <a:pPr lvl="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es-CO" sz="2800" b="0" dirty="0" smtClean="0"/>
              <a:t>Faltan políticas de inclusión. </a:t>
            </a:r>
          </a:p>
          <a:p>
            <a:pPr lvl="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es-CO" sz="2800" b="0" dirty="0" smtClean="0"/>
              <a:t>Bajo reconocimiento en todos los </a:t>
            </a:r>
            <a:r>
              <a:rPr lang="es-CO" sz="2800" b="0" dirty="0" smtClean="0"/>
              <a:t>sectores</a:t>
            </a:r>
            <a:endParaRPr lang="es-ES" sz="2800" b="0" dirty="0"/>
          </a:p>
        </p:txBody>
      </p:sp>
      <p:sp>
        <p:nvSpPr>
          <p:cNvPr id="3" name="Rectangle 3"/>
          <p:cNvSpPr txBox="1">
            <a:spLocks noChangeArrowheads="1"/>
          </p:cNvSpPr>
          <p:nvPr/>
        </p:nvSpPr>
        <p:spPr bwMode="auto">
          <a:xfrm>
            <a:off x="5652120" y="260648"/>
            <a:ext cx="323513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s-ES_tradnl" sz="2800" b="1" dirty="0" smtClean="0">
                <a:solidFill>
                  <a:srgbClr val="990000"/>
                </a:solidFill>
                <a:latin typeface="+mj-lt"/>
                <a:ea typeface="+mj-ea"/>
              </a:rPr>
              <a:t>Diagnóstico situación actual </a:t>
            </a:r>
            <a:endParaRPr lang="es-ES" sz="2800" b="1" dirty="0">
              <a:solidFill>
                <a:srgbClr val="990000"/>
              </a:solidFill>
              <a:latin typeface="+mj-lt"/>
              <a:ea typeface="+mj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CuadroTexto"/>
          <p:cNvSpPr txBox="1"/>
          <p:nvPr/>
        </p:nvSpPr>
        <p:spPr>
          <a:xfrm>
            <a:off x="467544" y="1412776"/>
            <a:ext cx="8352928" cy="4708981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es-CO" sz="2800" b="0" dirty="0" smtClean="0"/>
              <a:t>Necesidades en materia de recursos (físicos, humanos y </a:t>
            </a:r>
            <a:r>
              <a:rPr lang="es-CO" sz="2800" b="0" dirty="0" smtClean="0"/>
              <a:t>financieros)</a:t>
            </a:r>
            <a:endParaRPr lang="es-CO" sz="2800" b="0" dirty="0" smtClean="0"/>
          </a:p>
          <a:p>
            <a:pPr lvl="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es-CO" sz="2800" b="0" dirty="0" smtClean="0"/>
              <a:t>Multiplicidad de criterios de aplicabilidad normativa</a:t>
            </a:r>
          </a:p>
          <a:p>
            <a:pPr lvl="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es-CO" sz="2800" b="0" dirty="0" smtClean="0"/>
              <a:t>Limitaciones de orden legal  para inspección y vigilancia</a:t>
            </a:r>
          </a:p>
          <a:p>
            <a:pPr lvl="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es-CO" sz="2800" b="0" dirty="0" smtClean="0"/>
              <a:t>Falta de criterios unificados en torno al cobro de tarifas por la expedición de licencias y/o registros de programas, etc. </a:t>
            </a:r>
          </a:p>
          <a:p>
            <a:pPr algn="just">
              <a:spcAft>
                <a:spcPts val="600"/>
              </a:spcAft>
              <a:buFont typeface="Arial" pitchFamily="34" charset="0"/>
              <a:buChar char="•"/>
            </a:pPr>
            <a:r>
              <a:rPr lang="es-CO" sz="2800" b="0" dirty="0" smtClean="0"/>
              <a:t>Falta de vinculación con el sector productivo – poca pertinencia</a:t>
            </a:r>
            <a:r>
              <a:rPr lang="es-CO" sz="2800" b="0" dirty="0" smtClean="0"/>
              <a:t>.</a:t>
            </a:r>
            <a:endParaRPr lang="es-ES" sz="2800" b="0" dirty="0"/>
          </a:p>
        </p:txBody>
      </p:sp>
      <p:sp>
        <p:nvSpPr>
          <p:cNvPr id="3" name="Rectangle 3"/>
          <p:cNvSpPr txBox="1">
            <a:spLocks noChangeArrowheads="1"/>
          </p:cNvSpPr>
          <p:nvPr/>
        </p:nvSpPr>
        <p:spPr bwMode="auto">
          <a:xfrm>
            <a:off x="5652120" y="260648"/>
            <a:ext cx="323513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s-ES_tradnl" sz="2800" b="1" dirty="0" smtClean="0">
                <a:solidFill>
                  <a:srgbClr val="990000"/>
                </a:solidFill>
                <a:latin typeface="+mj-lt"/>
                <a:ea typeface="+mj-ea"/>
              </a:rPr>
              <a:t>Diagnóstico situación actual </a:t>
            </a:r>
            <a:endParaRPr lang="es-ES" sz="2800" b="1" dirty="0">
              <a:solidFill>
                <a:srgbClr val="990000"/>
              </a:solidFill>
              <a:latin typeface="+mj-lt"/>
              <a:ea typeface="+mj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CuadroTexto"/>
          <p:cNvSpPr txBox="1"/>
          <p:nvPr/>
        </p:nvSpPr>
        <p:spPr>
          <a:xfrm>
            <a:off x="251520" y="1174388"/>
            <a:ext cx="8748464" cy="5062924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lvl="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es-CO" sz="2800" b="0" dirty="0" smtClean="0"/>
              <a:t>Falta trabajo en Internacionalización</a:t>
            </a:r>
          </a:p>
          <a:p>
            <a:pPr lvl="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es-CO" sz="2800" b="0" dirty="0" smtClean="0"/>
              <a:t>Confusión con respecto a las competencias y titulaciones que maneja el SENA y las denominaciones o requisitos de los perfiles que se establecen con las mesas sectoriales</a:t>
            </a:r>
          </a:p>
          <a:p>
            <a:pPr lvl="0" algn="just">
              <a:spcAft>
                <a:spcPts val="600"/>
              </a:spcAft>
              <a:buFont typeface="Arial" pitchFamily="34" charset="0"/>
              <a:buChar char="•"/>
            </a:pPr>
            <a:r>
              <a:rPr lang="es-CO" sz="2800" b="0" dirty="0" smtClean="0"/>
              <a:t>Falta de recursos propios para el financiamiento y ejecución de las obligaciones normativas a cargo de las secretarias de educación certificadas en los niveles departamental y municipal</a:t>
            </a:r>
          </a:p>
          <a:p>
            <a:pPr algn="just">
              <a:spcAft>
                <a:spcPts val="600"/>
              </a:spcAft>
              <a:buFont typeface="Arial" pitchFamily="34" charset="0"/>
              <a:buChar char="•"/>
            </a:pPr>
            <a:r>
              <a:rPr lang="es-CO" sz="2800" b="0" dirty="0" smtClean="0"/>
              <a:t>Faltan condiciones mínimas para el ejercicio de la inspección y </a:t>
            </a:r>
            <a:r>
              <a:rPr lang="es-CO" sz="2800" b="0" dirty="0" smtClean="0"/>
              <a:t>vigilancia</a:t>
            </a:r>
            <a:endParaRPr lang="es-ES" sz="2800" b="0" dirty="0"/>
          </a:p>
        </p:txBody>
      </p:sp>
      <p:sp>
        <p:nvSpPr>
          <p:cNvPr id="3" name="Rectangle 3"/>
          <p:cNvSpPr txBox="1">
            <a:spLocks noChangeArrowheads="1"/>
          </p:cNvSpPr>
          <p:nvPr/>
        </p:nvSpPr>
        <p:spPr bwMode="auto">
          <a:xfrm>
            <a:off x="5652120" y="260648"/>
            <a:ext cx="323513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s-ES_tradnl" sz="2800" b="1" dirty="0" smtClean="0">
                <a:solidFill>
                  <a:srgbClr val="990000"/>
                </a:solidFill>
                <a:latin typeface="+mj-lt"/>
                <a:ea typeface="+mj-ea"/>
              </a:rPr>
              <a:t>Diagnóstico situación actual </a:t>
            </a:r>
            <a:endParaRPr lang="es-ES" sz="2800" b="1" dirty="0">
              <a:solidFill>
                <a:srgbClr val="990000"/>
              </a:solidFill>
              <a:latin typeface="+mj-lt"/>
              <a:ea typeface="+mj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a 3"/>
          <p:cNvGraphicFramePr/>
          <p:nvPr>
            <p:extLst>
              <p:ext uri="{D42A27DB-BD31-4B8C-83A1-F6EECF244321}">
                <p14:modId xmlns="" xmlns:p14="http://schemas.microsoft.com/office/powerpoint/2010/main" val="4283380501"/>
              </p:ext>
            </p:extLst>
          </p:nvPr>
        </p:nvGraphicFramePr>
        <p:xfrm>
          <a:off x="365760" y="1412776"/>
          <a:ext cx="8778240" cy="46805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Rectangle 3"/>
          <p:cNvSpPr txBox="1">
            <a:spLocks noChangeArrowheads="1"/>
          </p:cNvSpPr>
          <p:nvPr/>
        </p:nvSpPr>
        <p:spPr bwMode="auto">
          <a:xfrm>
            <a:off x="5652120" y="260648"/>
            <a:ext cx="323513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s-ES_tradnl" sz="2800" b="1" dirty="0" smtClean="0">
                <a:solidFill>
                  <a:srgbClr val="990000"/>
                </a:solidFill>
                <a:latin typeface="+mj-lt"/>
                <a:ea typeface="+mj-ea"/>
              </a:rPr>
              <a:t>El deber ser</a:t>
            </a:r>
            <a:endParaRPr lang="es-ES" sz="2800" b="1" dirty="0">
              <a:solidFill>
                <a:srgbClr val="990000"/>
              </a:solidFill>
              <a:latin typeface="+mj-lt"/>
              <a:ea typeface="+mj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a 5"/>
          <p:cNvGraphicFramePr/>
          <p:nvPr>
            <p:extLst>
              <p:ext uri="{D42A27DB-BD31-4B8C-83A1-F6EECF244321}">
                <p14:modId xmlns="" xmlns:p14="http://schemas.microsoft.com/office/powerpoint/2010/main" val="3212597346"/>
              </p:ext>
            </p:extLst>
          </p:nvPr>
        </p:nvGraphicFramePr>
        <p:xfrm>
          <a:off x="107504" y="0"/>
          <a:ext cx="9036496" cy="6858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Rectangle 3"/>
          <p:cNvSpPr txBox="1">
            <a:spLocks noChangeArrowheads="1"/>
          </p:cNvSpPr>
          <p:nvPr/>
        </p:nvSpPr>
        <p:spPr bwMode="auto">
          <a:xfrm>
            <a:off x="5652120" y="260648"/>
            <a:ext cx="323513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s-ES_tradnl" sz="2800" b="1" dirty="0" smtClean="0">
                <a:solidFill>
                  <a:srgbClr val="990000"/>
                </a:solidFill>
                <a:latin typeface="+mj-lt"/>
                <a:ea typeface="+mj-ea"/>
              </a:rPr>
              <a:t>El deber ser</a:t>
            </a:r>
            <a:endParaRPr lang="es-ES" sz="2800" b="1" dirty="0">
              <a:solidFill>
                <a:srgbClr val="990000"/>
              </a:solidFill>
              <a:latin typeface="+mj-lt"/>
              <a:ea typeface="+mj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a 5"/>
          <p:cNvGraphicFramePr/>
          <p:nvPr>
            <p:extLst>
              <p:ext uri="{D42A27DB-BD31-4B8C-83A1-F6EECF244321}">
                <p14:modId xmlns="" xmlns:p14="http://schemas.microsoft.com/office/powerpoint/2010/main" val="37220182"/>
              </p:ext>
            </p:extLst>
          </p:nvPr>
        </p:nvGraphicFramePr>
        <p:xfrm>
          <a:off x="251520" y="548680"/>
          <a:ext cx="8778240" cy="59766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Rectangle 3"/>
          <p:cNvSpPr txBox="1">
            <a:spLocks noChangeArrowheads="1"/>
          </p:cNvSpPr>
          <p:nvPr/>
        </p:nvSpPr>
        <p:spPr bwMode="auto">
          <a:xfrm>
            <a:off x="5652120" y="260648"/>
            <a:ext cx="323513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s-ES_tradnl" sz="2800" b="1" dirty="0" smtClean="0">
                <a:solidFill>
                  <a:srgbClr val="990000"/>
                </a:solidFill>
                <a:latin typeface="+mj-lt"/>
                <a:ea typeface="+mj-ea"/>
              </a:rPr>
              <a:t>El deber ser</a:t>
            </a:r>
            <a:endParaRPr lang="es-ES" sz="2800" b="1" dirty="0">
              <a:solidFill>
                <a:srgbClr val="990000"/>
              </a:solidFill>
              <a:latin typeface="+mj-lt"/>
              <a:ea typeface="+mj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ChangeArrowheads="1"/>
          </p:cNvSpPr>
          <p:nvPr/>
        </p:nvSpPr>
        <p:spPr bwMode="auto">
          <a:xfrm>
            <a:off x="5924714" y="58351"/>
            <a:ext cx="323513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s-ES_tradnl" sz="2800" b="1" dirty="0" smtClean="0">
                <a:solidFill>
                  <a:srgbClr val="990000"/>
                </a:solidFill>
                <a:latin typeface="+mj-lt"/>
                <a:ea typeface="+mj-ea"/>
              </a:rPr>
              <a:t>ELEMENTOS PARTICULARES</a:t>
            </a:r>
            <a:endParaRPr lang="es-ES" sz="2800" b="1" dirty="0">
              <a:solidFill>
                <a:srgbClr val="990000"/>
              </a:solidFill>
              <a:latin typeface="+mj-lt"/>
              <a:ea typeface="+mj-ea"/>
            </a:endParaRPr>
          </a:p>
        </p:txBody>
      </p:sp>
      <p:graphicFrame>
        <p:nvGraphicFramePr>
          <p:cNvPr id="6" name="5 Diagrama"/>
          <p:cNvGraphicFramePr/>
          <p:nvPr>
            <p:extLst>
              <p:ext uri="{D42A27DB-BD31-4B8C-83A1-F6EECF244321}">
                <p14:modId xmlns="" xmlns:p14="http://schemas.microsoft.com/office/powerpoint/2010/main" val="3156559574"/>
              </p:ext>
            </p:extLst>
          </p:nvPr>
        </p:nvGraphicFramePr>
        <p:xfrm>
          <a:off x="1524000" y="1397000"/>
          <a:ext cx="6864424" cy="45522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="" xmlns:p14="http://schemas.microsoft.com/office/powerpoint/2010/main" val="25024996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a 3"/>
          <p:cNvGraphicFramePr/>
          <p:nvPr>
            <p:extLst>
              <p:ext uri="{D42A27DB-BD31-4B8C-83A1-F6EECF244321}">
                <p14:modId xmlns="" xmlns:p14="http://schemas.microsoft.com/office/powerpoint/2010/main" val="3125879599"/>
              </p:ext>
            </p:extLst>
          </p:nvPr>
        </p:nvGraphicFramePr>
        <p:xfrm>
          <a:off x="0" y="2060848"/>
          <a:ext cx="5040560" cy="33123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Rectangle 3"/>
          <p:cNvSpPr txBox="1">
            <a:spLocks noChangeArrowheads="1"/>
          </p:cNvSpPr>
          <p:nvPr/>
        </p:nvSpPr>
        <p:spPr bwMode="auto">
          <a:xfrm>
            <a:off x="5652120" y="260648"/>
            <a:ext cx="323513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s-ES_tradnl" sz="2800" b="1" dirty="0" smtClean="0">
                <a:solidFill>
                  <a:srgbClr val="990000"/>
                </a:solidFill>
                <a:latin typeface="+mj-lt"/>
                <a:ea typeface="+mj-ea"/>
              </a:rPr>
              <a:t>Identificación de buenas prácticas</a:t>
            </a:r>
            <a:endParaRPr lang="es-ES" sz="2800" b="1" dirty="0">
              <a:solidFill>
                <a:srgbClr val="990000"/>
              </a:solidFill>
              <a:latin typeface="+mj-lt"/>
              <a:ea typeface="+mj-ea"/>
            </a:endParaRPr>
          </a:p>
        </p:txBody>
      </p:sp>
      <p:sp>
        <p:nvSpPr>
          <p:cNvPr id="4" name="3 CuadroTexto"/>
          <p:cNvSpPr txBox="1"/>
          <p:nvPr/>
        </p:nvSpPr>
        <p:spPr>
          <a:xfrm>
            <a:off x="5220072" y="1828562"/>
            <a:ext cx="3923928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/>
            <a:r>
              <a:rPr lang="es-CO" sz="1400" dirty="0" smtClean="0"/>
              <a:t>Creación del </a:t>
            </a:r>
            <a:r>
              <a:rPr lang="es-CO" sz="1400" dirty="0" smtClean="0">
                <a:solidFill>
                  <a:srgbClr val="C00000"/>
                </a:solidFill>
              </a:rPr>
              <a:t>Fondo Especial de Inspección y Vigilancia</a:t>
            </a:r>
            <a:r>
              <a:rPr lang="es-CO" sz="1400" dirty="0" smtClean="0"/>
              <a:t> del Sector que proveerá recursos provenientes de la fijación y cobro de tarifas por la expedición de licencias de funcionamiento, registro de programas y emisión de constancias a las ITDH, entre otros aspectos</a:t>
            </a:r>
            <a:endParaRPr lang="es-CO" sz="1400" dirty="0"/>
          </a:p>
        </p:txBody>
      </p:sp>
      <p:sp>
        <p:nvSpPr>
          <p:cNvPr id="5" name="4 Rectángulo"/>
          <p:cNvSpPr/>
          <p:nvPr/>
        </p:nvSpPr>
        <p:spPr>
          <a:xfrm>
            <a:off x="6156176" y="3501008"/>
            <a:ext cx="2664296" cy="1944216"/>
          </a:xfrm>
          <a:prstGeom prst="rect">
            <a:avLst/>
          </a:prstGeom>
          <a:noFill/>
        </p:spPr>
        <p:txBody>
          <a:bodyPr wrap="none" lIns="91440" tIns="45720" rIns="91440" bIns="45720" rtlCol="0" anchor="ctr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endParaRPr lang="es-ES" sz="2000" cap="all" dirty="0" smtClean="0">
              <a:ln w="0"/>
              <a:gradFill flip="none">
                <a:gsLst>
                  <a:gs pos="0">
                    <a:schemeClr val="accent1">
                      <a:tint val="75000"/>
                      <a:shade val="75000"/>
                      <a:satMod val="170000"/>
                    </a:schemeClr>
                  </a:gs>
                  <a:gs pos="49000">
                    <a:schemeClr val="accent1">
                      <a:tint val="88000"/>
                      <a:shade val="65000"/>
                      <a:satMod val="172000"/>
                    </a:schemeClr>
                  </a:gs>
                  <a:gs pos="50000">
                    <a:schemeClr val="accent1">
                      <a:shade val="65000"/>
                      <a:satMod val="130000"/>
                    </a:schemeClr>
                  </a:gs>
                  <a:gs pos="92000">
                    <a:schemeClr val="accent1">
                      <a:shade val="50000"/>
                      <a:satMod val="120000"/>
                    </a:schemeClr>
                  </a:gs>
                  <a:gs pos="100000">
                    <a:schemeClr val="accent1">
                      <a:shade val="48000"/>
                      <a:satMod val="120000"/>
                    </a:schemeClr>
                  </a:gs>
                </a:gsLst>
                <a:lin ang="5400000"/>
              </a:gradFill>
              <a:effectLst>
                <a:reflection blurRad="12700" stA="50000" endPos="50000" dist="5000" dir="5400000" sy="-100000" rotWithShape="0"/>
              </a:effectLst>
              <a:latin typeface="Arial Rounded MT Bold" pitchFamily="34" charset="0"/>
            </a:endParaRPr>
          </a:p>
        </p:txBody>
      </p:sp>
      <p:sp>
        <p:nvSpPr>
          <p:cNvPr id="6" name="5 CuadroTexto"/>
          <p:cNvSpPr txBox="1"/>
          <p:nvPr/>
        </p:nvSpPr>
        <p:spPr>
          <a:xfrm>
            <a:off x="5220072" y="3717032"/>
            <a:ext cx="3923928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/>
            <a:r>
              <a:rPr lang="es-CO" sz="1400" dirty="0" smtClean="0"/>
              <a:t>Creación de un </a:t>
            </a:r>
            <a:r>
              <a:rPr lang="es-CO" sz="1400" dirty="0" smtClean="0">
                <a:solidFill>
                  <a:srgbClr val="C00000"/>
                </a:solidFill>
              </a:rPr>
              <a:t>Fondo Cuenta Especial para la Inspección y Vigilancia </a:t>
            </a:r>
            <a:r>
              <a:rPr lang="es-CO" sz="1400" dirty="0" smtClean="0"/>
              <a:t>del sector Educativo y el Desarrollo, con destinación específica en el presupuesto del municipio, sin personería jurídica ni planta de personal, separado de las demás rentas del Municipio</a:t>
            </a:r>
          </a:p>
          <a:p>
            <a:pPr algn="just"/>
            <a:endParaRPr lang="es-ES" sz="14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a 3"/>
          <p:cNvGraphicFramePr/>
          <p:nvPr>
            <p:extLst>
              <p:ext uri="{D42A27DB-BD31-4B8C-83A1-F6EECF244321}">
                <p14:modId xmlns="" xmlns:p14="http://schemas.microsoft.com/office/powerpoint/2010/main" val="3125879599"/>
              </p:ext>
            </p:extLst>
          </p:nvPr>
        </p:nvGraphicFramePr>
        <p:xfrm>
          <a:off x="0" y="2060848"/>
          <a:ext cx="5040560" cy="33123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Rectangle 3"/>
          <p:cNvSpPr txBox="1">
            <a:spLocks noChangeArrowheads="1"/>
          </p:cNvSpPr>
          <p:nvPr/>
        </p:nvSpPr>
        <p:spPr bwMode="auto">
          <a:xfrm>
            <a:off x="5652120" y="260648"/>
            <a:ext cx="323513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s-ES_tradnl" sz="2800" b="1" dirty="0" smtClean="0">
                <a:solidFill>
                  <a:srgbClr val="990000"/>
                </a:solidFill>
                <a:latin typeface="+mj-lt"/>
                <a:ea typeface="+mj-ea"/>
              </a:rPr>
              <a:t>Identificación de buenas prácticas</a:t>
            </a:r>
            <a:endParaRPr lang="es-ES" sz="2800" b="1" dirty="0">
              <a:solidFill>
                <a:srgbClr val="990000"/>
              </a:solidFill>
              <a:latin typeface="+mj-lt"/>
              <a:ea typeface="+mj-ea"/>
            </a:endParaRPr>
          </a:p>
        </p:txBody>
      </p:sp>
      <p:sp>
        <p:nvSpPr>
          <p:cNvPr id="4" name="3 CuadroTexto"/>
          <p:cNvSpPr txBox="1"/>
          <p:nvPr/>
        </p:nvSpPr>
        <p:spPr>
          <a:xfrm>
            <a:off x="5220072" y="1628800"/>
            <a:ext cx="3923928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/>
            <a:r>
              <a:rPr lang="es-CO" sz="1200" dirty="0" smtClean="0"/>
              <a:t>Ha diseñado </a:t>
            </a:r>
            <a:r>
              <a:rPr lang="es-CO" sz="1200" dirty="0" smtClean="0">
                <a:solidFill>
                  <a:srgbClr val="C00000"/>
                </a:solidFill>
              </a:rPr>
              <a:t>instrumentos para verificación de contenidos</a:t>
            </a:r>
            <a:r>
              <a:rPr lang="es-CO" sz="1200" dirty="0" smtClean="0"/>
              <a:t>, cruza información con parámetros de competencias del SENA, tiene </a:t>
            </a:r>
            <a:r>
              <a:rPr lang="es-CO" sz="1200" dirty="0" smtClean="0">
                <a:solidFill>
                  <a:srgbClr val="C00000"/>
                </a:solidFill>
              </a:rPr>
              <a:t>lista de chequeo de elementos legales</a:t>
            </a:r>
            <a:r>
              <a:rPr lang="es-CO" sz="1200" dirty="0" smtClean="0"/>
              <a:t> para la licencia y registro de programas; adelantó una </a:t>
            </a:r>
            <a:r>
              <a:rPr lang="es-CO" sz="1200" dirty="0" smtClean="0">
                <a:solidFill>
                  <a:srgbClr val="C00000"/>
                </a:solidFill>
              </a:rPr>
              <a:t>feria para la formación para el trabajo </a:t>
            </a:r>
            <a:r>
              <a:rPr lang="es-CO" sz="1200" dirty="0" smtClean="0"/>
              <a:t>donde integró tanto a colegios con media técnica como a IFTDH, tiene identificadas aquellas que están funcionando de manera irregular así como las limitaciones para aplicar el régimen sancionatorio</a:t>
            </a:r>
            <a:endParaRPr lang="es-CO" sz="1200" dirty="0"/>
          </a:p>
        </p:txBody>
      </p:sp>
      <p:sp>
        <p:nvSpPr>
          <p:cNvPr id="5" name="4 Rectángulo"/>
          <p:cNvSpPr/>
          <p:nvPr/>
        </p:nvSpPr>
        <p:spPr>
          <a:xfrm>
            <a:off x="6156176" y="3501008"/>
            <a:ext cx="2664296" cy="1944216"/>
          </a:xfrm>
          <a:prstGeom prst="rect">
            <a:avLst/>
          </a:prstGeom>
          <a:noFill/>
        </p:spPr>
        <p:txBody>
          <a:bodyPr wrap="none" lIns="91440" tIns="45720" rIns="91440" bIns="45720" rtlCol="0" anchor="ctr">
            <a:spAutoFit/>
            <a:scene3d>
              <a:camera prst="orthographicFront">
                <a:rot lat="0" lon="0" rev="0"/>
              </a:camera>
              <a:lightRig rig="contrasting" dir="t">
                <a:rot lat="0" lon="0" rev="4500000"/>
              </a:lightRig>
            </a:scene3d>
            <a:sp3d contourW="6350" prstMaterial="metal">
              <a:bevelT w="127000" h="31750" prst="relaxedInset"/>
              <a:contourClr>
                <a:schemeClr val="accent1">
                  <a:shade val="75000"/>
                </a:schemeClr>
              </a:contourClr>
            </a:sp3d>
          </a:bodyPr>
          <a:lstStyle/>
          <a:p>
            <a:pPr algn="ctr"/>
            <a:endParaRPr lang="es-ES" sz="2000" cap="all" dirty="0" smtClean="0">
              <a:ln w="0"/>
              <a:gradFill flip="none">
                <a:gsLst>
                  <a:gs pos="0">
                    <a:schemeClr val="accent1">
                      <a:tint val="75000"/>
                      <a:shade val="75000"/>
                      <a:satMod val="170000"/>
                    </a:schemeClr>
                  </a:gs>
                  <a:gs pos="49000">
                    <a:schemeClr val="accent1">
                      <a:tint val="88000"/>
                      <a:shade val="65000"/>
                      <a:satMod val="172000"/>
                    </a:schemeClr>
                  </a:gs>
                  <a:gs pos="50000">
                    <a:schemeClr val="accent1">
                      <a:shade val="65000"/>
                      <a:satMod val="130000"/>
                    </a:schemeClr>
                  </a:gs>
                  <a:gs pos="92000">
                    <a:schemeClr val="accent1">
                      <a:shade val="50000"/>
                      <a:satMod val="120000"/>
                    </a:schemeClr>
                  </a:gs>
                  <a:gs pos="100000">
                    <a:schemeClr val="accent1">
                      <a:shade val="48000"/>
                      <a:satMod val="120000"/>
                    </a:schemeClr>
                  </a:gs>
                </a:gsLst>
                <a:lin ang="5400000"/>
              </a:gradFill>
              <a:effectLst>
                <a:reflection blurRad="12700" stA="50000" endPos="50000" dist="5000" dir="5400000" sy="-100000" rotWithShape="0"/>
              </a:effectLst>
              <a:latin typeface="Arial Rounded MT Bold" pitchFamily="34" charset="0"/>
            </a:endParaRPr>
          </a:p>
        </p:txBody>
      </p:sp>
      <p:sp>
        <p:nvSpPr>
          <p:cNvPr id="6" name="5 CuadroTexto"/>
          <p:cNvSpPr txBox="1"/>
          <p:nvPr/>
        </p:nvSpPr>
        <p:spPr>
          <a:xfrm>
            <a:off x="5220072" y="3861048"/>
            <a:ext cx="3923928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O" sz="1200" dirty="0" smtClean="0"/>
              <a:t>Creación de un </a:t>
            </a:r>
            <a:r>
              <a:rPr lang="es-CO" sz="1200" dirty="0" smtClean="0">
                <a:solidFill>
                  <a:srgbClr val="C00000"/>
                </a:solidFill>
              </a:rPr>
              <a:t>Fondo Cuenta Especial, </a:t>
            </a:r>
            <a:r>
              <a:rPr lang="es-CO" sz="1200" dirty="0" smtClean="0"/>
              <a:t>se encuentra bien estructurada y organizada internamente, generando procesos articulados entre las diferentes unidades de gestión de la Secretaría, especialmente con el proceso de calidad educativa, cuenta con </a:t>
            </a:r>
            <a:r>
              <a:rPr lang="es-CO" sz="1200" dirty="0" smtClean="0">
                <a:solidFill>
                  <a:srgbClr val="C00000"/>
                </a:solidFill>
              </a:rPr>
              <a:t>formatos para la verificación de condiciones</a:t>
            </a:r>
            <a:r>
              <a:rPr lang="es-CO" sz="1200" dirty="0" smtClean="0"/>
              <a:t> para otorgar tanto la licencia de funcionamiento como el registro de programas; realiza </a:t>
            </a:r>
            <a:r>
              <a:rPr lang="es-CO" sz="1200" dirty="0" smtClean="0">
                <a:solidFill>
                  <a:srgbClr val="C00000"/>
                </a:solidFill>
              </a:rPr>
              <a:t>capacitacione</a:t>
            </a:r>
            <a:r>
              <a:rPr lang="es-CO" sz="1200" dirty="0" smtClean="0"/>
              <a:t>s, tiene identificadas y hace seguimiento constante a las instituciones que funcionan de manera ilegal e irregular</a:t>
            </a:r>
            <a:endParaRPr lang="es-ES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1340768"/>
            <a:ext cx="8291296" cy="49194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ectangle 3"/>
          <p:cNvSpPr txBox="1">
            <a:spLocks noChangeArrowheads="1"/>
          </p:cNvSpPr>
          <p:nvPr/>
        </p:nvSpPr>
        <p:spPr bwMode="auto">
          <a:xfrm>
            <a:off x="5652120" y="260648"/>
            <a:ext cx="323513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s-ES_tradnl" sz="2800" b="1" dirty="0" smtClean="0">
                <a:solidFill>
                  <a:srgbClr val="990000"/>
                </a:solidFill>
                <a:latin typeface="+mj-lt"/>
                <a:ea typeface="+mj-ea"/>
              </a:rPr>
              <a:t>Propuesta modelos de gestión</a:t>
            </a:r>
            <a:endParaRPr lang="es-ES" sz="2800" b="1" dirty="0">
              <a:solidFill>
                <a:srgbClr val="990000"/>
              </a:solidFill>
              <a:latin typeface="+mj-lt"/>
              <a:ea typeface="+mj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268760"/>
            <a:ext cx="8136904" cy="48969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Rectangle 3"/>
          <p:cNvSpPr txBox="1">
            <a:spLocks noChangeArrowheads="1"/>
          </p:cNvSpPr>
          <p:nvPr/>
        </p:nvSpPr>
        <p:spPr bwMode="auto">
          <a:xfrm>
            <a:off x="5652120" y="260648"/>
            <a:ext cx="323513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s-ES_tradnl" sz="2800" b="1" dirty="0" smtClean="0">
                <a:solidFill>
                  <a:srgbClr val="990000"/>
                </a:solidFill>
                <a:latin typeface="+mj-lt"/>
                <a:ea typeface="+mj-ea"/>
              </a:rPr>
              <a:t>Propuesta modelos de gestión</a:t>
            </a:r>
            <a:endParaRPr lang="es-ES" sz="2800" b="1" dirty="0">
              <a:solidFill>
                <a:srgbClr val="990000"/>
              </a:solidFill>
              <a:latin typeface="+mj-lt"/>
              <a:ea typeface="+mj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80528" y="1213281"/>
            <a:ext cx="9473184" cy="49520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Rectangle 3"/>
          <p:cNvSpPr txBox="1">
            <a:spLocks noChangeArrowheads="1"/>
          </p:cNvSpPr>
          <p:nvPr/>
        </p:nvSpPr>
        <p:spPr bwMode="auto">
          <a:xfrm>
            <a:off x="5652120" y="260648"/>
            <a:ext cx="323513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s-ES_tradnl" sz="2800" b="1" dirty="0" smtClean="0">
                <a:solidFill>
                  <a:srgbClr val="990000"/>
                </a:solidFill>
                <a:latin typeface="+mj-lt"/>
                <a:ea typeface="+mj-ea"/>
              </a:rPr>
              <a:t>Propuesta modelos de gestión</a:t>
            </a:r>
            <a:endParaRPr lang="es-ES" sz="2800" b="1" dirty="0">
              <a:solidFill>
                <a:srgbClr val="990000"/>
              </a:solidFill>
              <a:latin typeface="+mj-lt"/>
              <a:ea typeface="+mj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 txBox="1">
            <a:spLocks noChangeArrowheads="1"/>
          </p:cNvSpPr>
          <p:nvPr/>
        </p:nvSpPr>
        <p:spPr bwMode="auto">
          <a:xfrm>
            <a:off x="5652120" y="260648"/>
            <a:ext cx="323513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s-ES_tradnl" sz="2800" b="1" dirty="0" smtClean="0">
                <a:solidFill>
                  <a:srgbClr val="990000"/>
                </a:solidFill>
                <a:latin typeface="+mj-lt"/>
                <a:ea typeface="+mj-ea"/>
              </a:rPr>
              <a:t>Propuesta de normatividad</a:t>
            </a:r>
            <a:endParaRPr lang="es-ES" sz="2800" b="1" dirty="0">
              <a:solidFill>
                <a:srgbClr val="990000"/>
              </a:solidFill>
              <a:latin typeface="+mj-lt"/>
              <a:ea typeface="+mj-ea"/>
            </a:endParaRPr>
          </a:p>
        </p:txBody>
      </p:sp>
      <p:sp>
        <p:nvSpPr>
          <p:cNvPr id="5" name="2 Subtítulo"/>
          <p:cNvSpPr txBox="1">
            <a:spLocks/>
          </p:cNvSpPr>
          <p:nvPr/>
        </p:nvSpPr>
        <p:spPr bwMode="auto">
          <a:xfrm>
            <a:off x="1115616" y="1700808"/>
            <a:ext cx="7128792" cy="3877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pPr marL="342900" marR="0" lvl="0" indent="-342900" algn="just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r>
              <a:rPr kumimoji="0" lang="es-CO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uración de la licencia de funcionamiento </a:t>
            </a:r>
          </a:p>
          <a:p>
            <a:pPr marL="342900" marR="0" lvl="0" indent="-342900" algn="just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r>
              <a:rPr kumimoji="0" lang="es-CO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uración del Registro de Programas</a:t>
            </a:r>
          </a:p>
          <a:p>
            <a:pPr marL="342900" marR="0" lvl="0" indent="-342900" algn="just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r>
              <a:rPr kumimoji="0" lang="es-CO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Reglamento para la creación de Fondo Especial </a:t>
            </a:r>
          </a:p>
          <a:p>
            <a:pPr marL="342900" marR="0" lvl="0" indent="-342900" algn="just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r>
              <a:rPr kumimoji="0" lang="es-CO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ircular de Tarifas por denominación de programas </a:t>
            </a:r>
          </a:p>
          <a:p>
            <a:pPr marL="342900" marR="0" lvl="0" indent="-342900" algn="just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r>
              <a:rPr kumimoji="0" lang="es-CO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Guía/ Manual  de PEI </a:t>
            </a:r>
          </a:p>
          <a:p>
            <a:pPr marL="342900" marR="0" lvl="0" indent="-342900" algn="just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r>
              <a:rPr kumimoji="0" lang="es-CO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reación del Banco de Pares : Nivel Nacional y Nivel Departamental </a:t>
            </a:r>
          </a:p>
          <a:p>
            <a:pPr marL="342900" marR="0" lvl="0" indent="-342900" algn="just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r>
              <a:rPr kumimoji="0" lang="es-CO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Normas de Competencia : Actualización</a:t>
            </a:r>
          </a:p>
          <a:p>
            <a:pPr marL="342900" marR="0" lvl="0" indent="-342900" algn="just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r>
              <a:rPr kumimoji="0" lang="es-CO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Nueva oferta de Programas/ Nuevas IFTDH </a:t>
            </a:r>
          </a:p>
          <a:p>
            <a:pPr marL="342900" marR="0" lvl="0" indent="-342900" algn="just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s-CO" sz="2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342900" marR="0" lvl="0" indent="-342900" algn="just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s-CO" sz="2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342900" marR="0" lvl="0" indent="-342900" algn="just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s-CO" sz="24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342900" marR="0" lvl="0" indent="-342900" algn="just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s-CO" sz="2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Rectángulo"/>
          <p:cNvSpPr/>
          <p:nvPr/>
        </p:nvSpPr>
        <p:spPr>
          <a:xfrm>
            <a:off x="365760" y="1484785"/>
            <a:ext cx="8526720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CO" sz="2000" b="1" dirty="0" smtClean="0">
                <a:solidFill>
                  <a:srgbClr val="C00000"/>
                </a:solidFill>
              </a:rPr>
              <a:t>CREASE </a:t>
            </a:r>
            <a:r>
              <a:rPr lang="es-CO" sz="2000" b="1" dirty="0">
                <a:solidFill>
                  <a:srgbClr val="C00000"/>
                </a:solidFill>
              </a:rPr>
              <a:t>EL FONDO CUENTA</a:t>
            </a:r>
            <a:r>
              <a:rPr lang="es-CO" sz="2000" dirty="0">
                <a:solidFill>
                  <a:srgbClr val="C00000"/>
                </a:solidFill>
              </a:rPr>
              <a:t> </a:t>
            </a:r>
            <a:r>
              <a:rPr lang="es-CO" sz="2000" b="1" dirty="0">
                <a:solidFill>
                  <a:srgbClr val="C00000"/>
                </a:solidFill>
              </a:rPr>
              <a:t>ESPECIAL</a:t>
            </a:r>
            <a:r>
              <a:rPr lang="es-CO" sz="2000" dirty="0"/>
              <a:t>: adscrito al despacho del Señor Secretario de Educación Municipal, que en adelante se denominará Fondo Cuenta Especial para la Inspección y Vigilancia del sector Educativo y el Desarrollo </a:t>
            </a:r>
            <a:r>
              <a:rPr lang="es-CO" sz="2000" dirty="0" smtClean="0"/>
              <a:t>Humano</a:t>
            </a:r>
          </a:p>
          <a:p>
            <a:pPr algn="just"/>
            <a:endParaRPr lang="es-CO" sz="2000" dirty="0"/>
          </a:p>
          <a:p>
            <a:pPr algn="just"/>
            <a:r>
              <a:rPr lang="es-CO" sz="2000" b="1" dirty="0">
                <a:solidFill>
                  <a:srgbClr val="C00000"/>
                </a:solidFill>
              </a:rPr>
              <a:t>Naturaleza Del Fondo</a:t>
            </a:r>
            <a:r>
              <a:rPr lang="es-CO" sz="2000" b="1" dirty="0"/>
              <a:t>. </a:t>
            </a:r>
            <a:r>
              <a:rPr lang="es-CO" sz="2000" dirty="0"/>
              <a:t> El Fondo Cuenta Especial para la Inspección y Vigilancia del sector Educativo y el Desarrollo Humano de la Ciudad de ______________ se constituye como un Fondo Cuenta especial con destinación específica dentro del presupuesto del municipio de ______________, sin personería jurídica ni planta de personal, separado de las demás rentas del Municipio, conservando un manejo contable y presupuestal independiente y exclusivo de conformidad con el estatuto de rentas municipales, que permita identificar con precisión el origen y destinación de los recursos de cada fuente</a:t>
            </a:r>
            <a:r>
              <a:rPr lang="es-CO" sz="2000" dirty="0" smtClean="0"/>
              <a:t> </a:t>
            </a:r>
            <a:endParaRPr lang="es-CO" sz="2000" dirty="0"/>
          </a:p>
        </p:txBody>
      </p:sp>
      <p:sp>
        <p:nvSpPr>
          <p:cNvPr id="3" name="Rectangle 3"/>
          <p:cNvSpPr txBox="1">
            <a:spLocks noChangeArrowheads="1"/>
          </p:cNvSpPr>
          <p:nvPr/>
        </p:nvSpPr>
        <p:spPr bwMode="auto">
          <a:xfrm>
            <a:off x="5148064" y="260648"/>
            <a:ext cx="3739186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s-ES_tradnl" sz="2800" b="1" dirty="0" smtClean="0">
                <a:solidFill>
                  <a:srgbClr val="990000"/>
                </a:solidFill>
                <a:latin typeface="+mj-lt"/>
                <a:ea typeface="+mj-ea"/>
              </a:rPr>
              <a:t>Propuesta de ajustes normativos</a:t>
            </a:r>
            <a:endParaRPr lang="es-ES" sz="2800" b="1" dirty="0">
              <a:solidFill>
                <a:srgbClr val="990000"/>
              </a:solidFill>
              <a:latin typeface="+mj-lt"/>
              <a:ea typeface="+mj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Rectángulo"/>
          <p:cNvSpPr/>
          <p:nvPr/>
        </p:nvSpPr>
        <p:spPr>
          <a:xfrm>
            <a:off x="365760" y="1456323"/>
            <a:ext cx="8778240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es-CO" sz="2000" dirty="0" smtClean="0">
                <a:solidFill>
                  <a:srgbClr val="C00000"/>
                </a:solidFill>
              </a:rPr>
              <a:t>Objetivo </a:t>
            </a:r>
            <a:r>
              <a:rPr lang="es-CO" sz="2000" dirty="0">
                <a:solidFill>
                  <a:srgbClr val="C00000"/>
                </a:solidFill>
              </a:rPr>
              <a:t>Del Fondo</a:t>
            </a:r>
            <a:r>
              <a:rPr lang="es-CO" sz="2000" dirty="0"/>
              <a:t>. El Fondo Cuenta Especial para la Inspección y Vigilancia del sector Educativo y el Desarrollo Humano de la Ciudad de ______________,</a:t>
            </a:r>
            <a:r>
              <a:rPr lang="es-CO" sz="2000" b="1" dirty="0"/>
              <a:t> </a:t>
            </a:r>
            <a:r>
              <a:rPr lang="es-CO" sz="2000" dirty="0"/>
              <a:t>se crea con el propósito de financiar los estudios y costos para la verificación de los requisitos de la expedición de las Licencias de Funcionamiento y la evaluación y verificación de los requisitos básicos para la creación y funcionamiento de los Programas de Educación para el Trabajo y el Desarrollo Humano, como también los costos por el ejercicio de la competencia de  inspección y vigilancia, según las normas que  la regulan. </a:t>
            </a:r>
          </a:p>
          <a:p>
            <a:pPr algn="just"/>
            <a:r>
              <a:rPr lang="es-CO" sz="2000" b="1" dirty="0"/>
              <a:t> </a:t>
            </a:r>
            <a:r>
              <a:rPr lang="es-CO" sz="2000" b="1" dirty="0">
                <a:solidFill>
                  <a:srgbClr val="C00000"/>
                </a:solidFill>
              </a:rPr>
              <a:t>Administración</a:t>
            </a:r>
            <a:r>
              <a:rPr lang="es-CO" sz="2000" dirty="0">
                <a:solidFill>
                  <a:srgbClr val="C00000"/>
                </a:solidFill>
              </a:rPr>
              <a:t>.- </a:t>
            </a:r>
            <a:r>
              <a:rPr lang="es-CO" sz="2000" dirty="0"/>
              <a:t>La administración y ejecución del Fondo Cuenta Especial para la Inspección y Vigilancia del sector Educativo y el Desarrollo Humano de la Ciudad de ______________ estará a cargo de  la Secretaría de Educación Municipal,  quien deberá enviar mensualmente un informe detallado de las novedades al señor alcalde municipal y a la Secretaría de Hacienda Municipal</a:t>
            </a:r>
          </a:p>
        </p:txBody>
      </p:sp>
      <p:sp>
        <p:nvSpPr>
          <p:cNvPr id="3" name="Rectangle 3"/>
          <p:cNvSpPr txBox="1">
            <a:spLocks noChangeArrowheads="1"/>
          </p:cNvSpPr>
          <p:nvPr/>
        </p:nvSpPr>
        <p:spPr bwMode="auto">
          <a:xfrm>
            <a:off x="5148064" y="260648"/>
            <a:ext cx="3739186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s-ES_tradnl" sz="2800" b="1" dirty="0" smtClean="0">
                <a:solidFill>
                  <a:srgbClr val="990000"/>
                </a:solidFill>
                <a:latin typeface="+mj-lt"/>
                <a:ea typeface="+mj-ea"/>
              </a:rPr>
              <a:t>Propuesta de ajustes normativos</a:t>
            </a:r>
            <a:endParaRPr lang="es-ES" sz="2800" b="1" dirty="0">
              <a:solidFill>
                <a:srgbClr val="990000"/>
              </a:solidFill>
              <a:latin typeface="+mj-lt"/>
              <a:ea typeface="+mj-e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3"/>
          <p:cNvSpPr txBox="1">
            <a:spLocks noChangeArrowheads="1"/>
          </p:cNvSpPr>
          <p:nvPr/>
        </p:nvSpPr>
        <p:spPr bwMode="auto">
          <a:xfrm>
            <a:off x="5148064" y="260648"/>
            <a:ext cx="3739186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s-ES_tradnl" sz="2800" b="1" dirty="0" smtClean="0">
                <a:solidFill>
                  <a:srgbClr val="990000"/>
                </a:solidFill>
                <a:latin typeface="+mj-lt"/>
                <a:ea typeface="+mj-ea"/>
              </a:rPr>
              <a:t>Propuesta de ajustes normativos</a:t>
            </a:r>
            <a:endParaRPr lang="es-ES" sz="2800" b="1" dirty="0">
              <a:solidFill>
                <a:srgbClr val="990000"/>
              </a:solidFill>
              <a:latin typeface="+mj-lt"/>
              <a:ea typeface="+mj-ea"/>
            </a:endParaRPr>
          </a:p>
        </p:txBody>
      </p:sp>
      <p:sp>
        <p:nvSpPr>
          <p:cNvPr id="4" name="3 Rectángulo"/>
          <p:cNvSpPr/>
          <p:nvPr/>
        </p:nvSpPr>
        <p:spPr>
          <a:xfrm>
            <a:off x="128016" y="1293728"/>
            <a:ext cx="9015984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es-CO" sz="2000" b="1" dirty="0" smtClean="0">
                <a:solidFill>
                  <a:srgbClr val="C00000"/>
                </a:solidFill>
              </a:rPr>
              <a:t>Fuentes </a:t>
            </a:r>
            <a:r>
              <a:rPr lang="es-CO" sz="2000" b="1" dirty="0">
                <a:solidFill>
                  <a:srgbClr val="C00000"/>
                </a:solidFill>
              </a:rPr>
              <a:t>de Financiación</a:t>
            </a:r>
            <a:r>
              <a:rPr lang="es-CO" sz="2000" dirty="0"/>
              <a:t>.</a:t>
            </a:r>
            <a:r>
              <a:rPr lang="es-CO" sz="2000" b="1" dirty="0"/>
              <a:t> </a:t>
            </a:r>
            <a:r>
              <a:rPr lang="es-CO" sz="2000" dirty="0"/>
              <a:t>Fíjense  como fuente de financiación del Fondo Cuenta Especial para la Inspección y Vigilancia del sector Educativo y el Desarrollo Humano de la Ciudad de ______________ los recursos descritos a </a:t>
            </a:r>
            <a:r>
              <a:rPr lang="es-CO" sz="2000" dirty="0" smtClean="0"/>
              <a:t>continuación</a:t>
            </a:r>
          </a:p>
          <a:p>
            <a:pPr lvl="0" algn="just"/>
            <a:endParaRPr lang="es-CO" sz="2000" dirty="0"/>
          </a:p>
        </p:txBody>
      </p:sp>
      <p:graphicFrame>
        <p:nvGraphicFramePr>
          <p:cNvPr id="5" name="Tabla 1"/>
          <p:cNvGraphicFramePr>
            <a:graphicFrameLocks noGrp="1"/>
          </p:cNvGraphicFramePr>
          <p:nvPr>
            <p:extLst>
              <p:ext uri="{D42A27DB-BD31-4B8C-83A1-F6EECF244321}">
                <p14:modId xmlns="" xmlns:p14="http://schemas.microsoft.com/office/powerpoint/2010/main" val="3053057156"/>
              </p:ext>
            </p:extLst>
          </p:nvPr>
        </p:nvGraphicFramePr>
        <p:xfrm>
          <a:off x="251520" y="2621211"/>
          <a:ext cx="8796527" cy="361610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98187"/>
                <a:gridCol w="7857238"/>
                <a:gridCol w="641102"/>
              </a:tblGrid>
              <a:tr h="18726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CO" sz="700" dirty="0">
                          <a:effectLst/>
                        </a:rPr>
                        <a:t>Nº</a:t>
                      </a:r>
                      <a:endParaRPr lang="es-CO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47675" indent="-270510"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CO" sz="700">
                          <a:effectLst/>
                        </a:rPr>
                        <a:t>CONCEPTO</a:t>
                      </a:r>
                      <a:endParaRPr lang="es-CO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CO" sz="700" dirty="0">
                          <a:effectLst/>
                        </a:rPr>
                        <a:t>TARIFA EN </a:t>
                      </a:r>
                      <a:r>
                        <a:rPr lang="es-CO" sz="700" dirty="0" err="1">
                          <a:effectLst/>
                        </a:rPr>
                        <a:t>SMLMV</a:t>
                      </a:r>
                      <a:endParaRPr lang="es-CO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37073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CO" sz="700">
                          <a:effectLst/>
                        </a:rPr>
                        <a:t>1.</a:t>
                      </a:r>
                      <a:endParaRPr lang="es-CO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228600" lvl="0" indent="-2286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es-CO" sz="1000" b="1" dirty="0">
                          <a:effectLst/>
                        </a:rPr>
                        <a:t>Derechos de Inscripción de Establecimientos </a:t>
                      </a:r>
                      <a:r>
                        <a:rPr lang="es-CO" sz="1000" b="1" dirty="0" err="1">
                          <a:effectLst/>
                        </a:rPr>
                        <a:t>ETD</a:t>
                      </a:r>
                      <a:r>
                        <a:rPr lang="es-CO" sz="1000" b="1" dirty="0">
                          <a:effectLst/>
                        </a:rPr>
                        <a:t> y </a:t>
                      </a:r>
                      <a:r>
                        <a:rPr lang="es-CO" sz="1000" b="1" dirty="0" err="1">
                          <a:effectLst/>
                        </a:rPr>
                        <a:t>DH</a:t>
                      </a:r>
                      <a:endParaRPr lang="es-CO" sz="1600" b="1" dirty="0">
                        <a:effectLst/>
                      </a:endParaRPr>
                    </a:p>
                    <a:p>
                      <a:pPr marL="228600" lvl="0" indent="-2286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es-CO" sz="1000" b="1" dirty="0">
                          <a:effectLst/>
                        </a:rPr>
                        <a:t>Actualización de Derechos, </a:t>
                      </a:r>
                      <a:endParaRPr lang="es-CO" sz="1600" b="1" dirty="0">
                        <a:effectLst/>
                      </a:endParaRPr>
                    </a:p>
                    <a:p>
                      <a:pPr marL="228600" lvl="0" indent="-2286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es-CO" sz="1000" b="1" dirty="0">
                          <a:effectLst/>
                        </a:rPr>
                        <a:t>Actualización de datos, </a:t>
                      </a:r>
                      <a:endParaRPr lang="es-CO" sz="1600" b="1" dirty="0">
                        <a:effectLst/>
                      </a:endParaRPr>
                    </a:p>
                    <a:p>
                      <a:pPr marL="228600" lvl="0" indent="-2286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es-CO" sz="1000" b="1" dirty="0">
                          <a:effectLst/>
                        </a:rPr>
                        <a:t>Cambio Propietario, </a:t>
                      </a:r>
                      <a:endParaRPr lang="es-CO" sz="1600" b="1" dirty="0">
                        <a:effectLst/>
                      </a:endParaRPr>
                    </a:p>
                    <a:p>
                      <a:pPr marL="228600" lvl="0" indent="-2286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es-CO" sz="1000" b="1" dirty="0">
                          <a:effectLst/>
                        </a:rPr>
                        <a:t>Cambio de Sede, </a:t>
                      </a:r>
                      <a:endParaRPr lang="es-CO" sz="1600" b="1" dirty="0">
                        <a:effectLst/>
                      </a:endParaRPr>
                    </a:p>
                    <a:p>
                      <a:pPr marL="228600" lvl="0" indent="-2286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es-CO" sz="1000" b="1" dirty="0">
                          <a:effectLst/>
                        </a:rPr>
                        <a:t>Cambio de nombre o Razón Social, </a:t>
                      </a:r>
                      <a:endParaRPr lang="es-CO" sz="1600" b="1" dirty="0">
                        <a:effectLst/>
                      </a:endParaRPr>
                    </a:p>
                    <a:p>
                      <a:pPr marL="228600" lvl="0" indent="-2286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es-CO" sz="1000" b="1" dirty="0">
                          <a:effectLst/>
                        </a:rPr>
                        <a:t>Cambio de Representante legal, </a:t>
                      </a:r>
                      <a:endParaRPr lang="es-CO" sz="1600" b="1" dirty="0">
                        <a:effectLst/>
                      </a:endParaRPr>
                    </a:p>
                    <a:p>
                      <a:pPr marL="228600" lvl="0" indent="-2286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es-CO" sz="1000" b="1" dirty="0">
                          <a:effectLst/>
                        </a:rPr>
                        <a:t>Cambio de Rector o director, </a:t>
                      </a:r>
                      <a:endParaRPr lang="es-CO" sz="1600" b="1" dirty="0">
                        <a:effectLst/>
                      </a:endParaRPr>
                    </a:p>
                    <a:p>
                      <a:pPr marL="228600" lvl="0" indent="-2286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es-CO" sz="1000" b="1" dirty="0">
                          <a:effectLst/>
                        </a:rPr>
                        <a:t>Cambio de Secretaria</a:t>
                      </a:r>
                      <a:endParaRPr lang="es-CO" sz="1600" b="1" dirty="0">
                        <a:effectLst/>
                      </a:endParaRPr>
                    </a:p>
                    <a:p>
                      <a:pPr marL="228600" lvl="0" indent="-2286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es-CO" sz="1000" b="1" dirty="0">
                          <a:effectLst/>
                        </a:rPr>
                        <a:t>Registro de Programas de Establecimientos de </a:t>
                      </a:r>
                      <a:r>
                        <a:rPr lang="es-CO" sz="1000" b="1" dirty="0" err="1">
                          <a:effectLst/>
                        </a:rPr>
                        <a:t>ETD</a:t>
                      </a:r>
                      <a:r>
                        <a:rPr lang="es-CO" sz="1000" b="1" dirty="0">
                          <a:effectLst/>
                        </a:rPr>
                        <a:t> y </a:t>
                      </a:r>
                      <a:r>
                        <a:rPr lang="es-CO" sz="1000" b="1" dirty="0" err="1">
                          <a:effectLst/>
                        </a:rPr>
                        <a:t>DH</a:t>
                      </a:r>
                      <a:endParaRPr lang="es-CO" sz="1600" b="1" dirty="0">
                        <a:effectLst/>
                      </a:endParaRPr>
                    </a:p>
                    <a:p>
                      <a:pPr marL="685800" lvl="1" indent="-2286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s-CO" sz="1000" b="1" dirty="0">
                          <a:effectLst/>
                        </a:rPr>
                        <a:t>Programas de Formación Laboral</a:t>
                      </a:r>
                      <a:endParaRPr lang="es-CO" sz="1600" b="1" dirty="0">
                        <a:effectLst/>
                      </a:endParaRPr>
                    </a:p>
                    <a:p>
                      <a:pPr marL="685800" lvl="1" indent="-2286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s-CO" sz="1000" b="1" dirty="0">
                          <a:effectLst/>
                        </a:rPr>
                        <a:t>Programas de Formación Académica</a:t>
                      </a:r>
                      <a:endParaRPr lang="es-CO" sz="1600" b="1" dirty="0">
                        <a:effectLst/>
                      </a:endParaRPr>
                    </a:p>
                    <a:p>
                      <a:pPr marL="685800" lvl="1" indent="-2286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s-CO" sz="1000" b="1" dirty="0">
                          <a:effectLst/>
                        </a:rPr>
                        <a:t>Programa de Formación de Conductores por categorías</a:t>
                      </a:r>
                      <a:endParaRPr lang="es-CO" sz="1600" b="1" dirty="0">
                        <a:effectLst/>
                      </a:endParaRPr>
                    </a:p>
                    <a:p>
                      <a:pPr marL="685800" lvl="1" indent="-2286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s-CO" sz="1000" b="1" dirty="0">
                          <a:effectLst/>
                        </a:rPr>
                        <a:t>Programa de Formación de instructores en técnica de Conducción</a:t>
                      </a:r>
                      <a:endParaRPr lang="es-CO" sz="1600" b="1" dirty="0">
                        <a:effectLst/>
                      </a:endParaRPr>
                    </a:p>
                    <a:p>
                      <a:pPr marL="228600" lvl="0" indent="-2286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es-CO" sz="1000" b="1" dirty="0">
                          <a:effectLst/>
                        </a:rPr>
                        <a:t>Expedición Licencia de funcionamiento </a:t>
                      </a:r>
                      <a:r>
                        <a:rPr lang="es-CO" sz="1000" b="1" dirty="0" err="1">
                          <a:effectLst/>
                        </a:rPr>
                        <a:t>ITD</a:t>
                      </a:r>
                      <a:r>
                        <a:rPr lang="es-CO" sz="1000" b="1" dirty="0">
                          <a:effectLst/>
                        </a:rPr>
                        <a:t> y </a:t>
                      </a:r>
                      <a:r>
                        <a:rPr lang="es-CO" sz="1000" b="1" dirty="0" err="1">
                          <a:effectLst/>
                        </a:rPr>
                        <a:t>DH</a:t>
                      </a:r>
                      <a:endParaRPr lang="es-CO" sz="1600" b="1" dirty="0">
                        <a:effectLst/>
                      </a:endParaRPr>
                    </a:p>
                    <a:p>
                      <a:pPr marL="228600" lvl="0" indent="-2286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es-CO" sz="1000" b="1" dirty="0">
                          <a:effectLst/>
                        </a:rPr>
                        <a:t>Apertura de nueva sede</a:t>
                      </a:r>
                      <a:endParaRPr lang="es-CO" sz="1600" b="1" dirty="0">
                        <a:effectLst/>
                      </a:endParaRPr>
                    </a:p>
                    <a:p>
                      <a:pPr marL="228600" lvl="0" indent="-228600" algn="just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es-CO" sz="1000" b="1" dirty="0">
                          <a:effectLst/>
                        </a:rPr>
                        <a:t>Expedición de constancias a Instituciones para el trabajo y el desarrollo humano – </a:t>
                      </a:r>
                      <a:r>
                        <a:rPr lang="es-CO" sz="1000" b="1" dirty="0" err="1">
                          <a:effectLst/>
                        </a:rPr>
                        <a:t>ITDH</a:t>
                      </a:r>
                      <a:r>
                        <a:rPr lang="es-CO" sz="1000" b="1" dirty="0">
                          <a:effectLst/>
                        </a:rPr>
                        <a:t>.</a:t>
                      </a:r>
                      <a:endParaRPr lang="es-CO" sz="1600" b="1" dirty="0">
                        <a:effectLst/>
                      </a:endParaRPr>
                    </a:p>
                    <a:p>
                      <a:pPr marL="228600" lvl="0" indent="-228600" algn="just">
                        <a:lnSpc>
                          <a:spcPct val="115000"/>
                        </a:lnSpc>
                        <a:spcAft>
                          <a:spcPts val="100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es-CO" sz="1000" b="1" dirty="0">
                          <a:effectLst/>
                        </a:rPr>
                        <a:t>Refrendación de certificados de aptitud  ocupacional a egresados de Instituciones para el trabajo y el desarrollo humano – </a:t>
                      </a:r>
                      <a:r>
                        <a:rPr lang="es-CO" sz="1000" b="1" dirty="0" err="1">
                          <a:effectLst/>
                        </a:rPr>
                        <a:t>ITDH</a:t>
                      </a:r>
                      <a:endParaRPr lang="es-CO" sz="1600" b="1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s-CO" sz="700" dirty="0">
                          <a:effectLst/>
                        </a:rPr>
                        <a:t>3</a:t>
                      </a:r>
                      <a:endParaRPr lang="es-CO" sz="1100" dirty="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CuadroTexto"/>
          <p:cNvSpPr txBox="1"/>
          <p:nvPr/>
        </p:nvSpPr>
        <p:spPr>
          <a:xfrm>
            <a:off x="1187624" y="2708920"/>
            <a:ext cx="6984776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ES_tradnl" sz="3200" dirty="0" smtClean="0"/>
              <a:t>A partir de la presentación ¿Qué propuestas plantea desde su Secretaría de Educación para la adopción de un modelo de gestión para la formación para el trabajo?</a:t>
            </a:r>
            <a:endParaRPr lang="es-ES" sz="3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 txBox="1">
            <a:spLocks noChangeArrowheads="1"/>
          </p:cNvSpPr>
          <p:nvPr/>
        </p:nvSpPr>
        <p:spPr bwMode="auto">
          <a:xfrm>
            <a:off x="5924714" y="58351"/>
            <a:ext cx="323513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buFont typeface="Arial" pitchFamily="34" charset="0"/>
              <a:buNone/>
            </a:pPr>
            <a:r>
              <a:rPr lang="es-ES_tradnl" sz="2800" b="1" dirty="0" smtClean="0">
                <a:solidFill>
                  <a:srgbClr val="990000"/>
                </a:solidFill>
                <a:latin typeface="+mj-lt"/>
                <a:ea typeface="+mj-ea"/>
              </a:rPr>
              <a:t>ELEMENTOS PARTICULARES</a:t>
            </a:r>
            <a:endParaRPr lang="es-ES" sz="2800" b="1" dirty="0">
              <a:solidFill>
                <a:srgbClr val="990000"/>
              </a:solidFill>
              <a:latin typeface="+mj-lt"/>
              <a:ea typeface="+mj-ea"/>
            </a:endParaRPr>
          </a:p>
        </p:txBody>
      </p:sp>
      <p:graphicFrame>
        <p:nvGraphicFramePr>
          <p:cNvPr id="6" name="5 Diagrama"/>
          <p:cNvGraphicFramePr/>
          <p:nvPr>
            <p:extLst>
              <p:ext uri="{D42A27DB-BD31-4B8C-83A1-F6EECF244321}">
                <p14:modId xmlns="" xmlns:p14="http://schemas.microsoft.com/office/powerpoint/2010/main" val="83415948"/>
              </p:ext>
            </p:extLst>
          </p:nvPr>
        </p:nvGraphicFramePr>
        <p:xfrm>
          <a:off x="1524000" y="1397000"/>
          <a:ext cx="6864424" cy="45522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="" xmlns:p14="http://schemas.microsoft.com/office/powerpoint/2010/main" val="767202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="" xmlns:p14="http://schemas.microsoft.com/office/powerpoint/2010/main" val="1995112324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4 Diagrama"/>
          <p:cNvGraphicFramePr/>
          <p:nvPr>
            <p:extLst>
              <p:ext uri="{D42A27DB-BD31-4B8C-83A1-F6EECF244321}">
                <p14:modId xmlns="" xmlns:p14="http://schemas.microsoft.com/office/powerpoint/2010/main" val="3925221262"/>
              </p:ext>
            </p:extLst>
          </p:nvPr>
        </p:nvGraphicFramePr>
        <p:xfrm>
          <a:off x="-108520" y="1628800"/>
          <a:ext cx="5256584" cy="41764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4" name="3 Diagrama"/>
          <p:cNvGraphicFramePr/>
          <p:nvPr>
            <p:extLst>
              <p:ext uri="{D42A27DB-BD31-4B8C-83A1-F6EECF244321}">
                <p14:modId xmlns="" xmlns:p14="http://schemas.microsoft.com/office/powerpoint/2010/main" val="3226351804"/>
              </p:ext>
            </p:extLst>
          </p:nvPr>
        </p:nvGraphicFramePr>
        <p:xfrm>
          <a:off x="3922250" y="1628800"/>
          <a:ext cx="5256584" cy="42484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6" name="1 Título"/>
          <p:cNvSpPr txBox="1">
            <a:spLocks/>
          </p:cNvSpPr>
          <p:nvPr/>
        </p:nvSpPr>
        <p:spPr bwMode="auto">
          <a:xfrm>
            <a:off x="4644008" y="476672"/>
            <a:ext cx="4680520" cy="864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000" kern="1200">
                <a:solidFill>
                  <a:srgbClr val="800000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ES_tradnl" sz="2800" b="1" dirty="0" smtClean="0">
                <a:solidFill>
                  <a:srgbClr val="990000"/>
                </a:solidFill>
                <a:latin typeface="+mj-lt"/>
              </a:rPr>
              <a:t>CONDICIONES DE CALIDAD PARA INSTITUCIONES</a:t>
            </a:r>
            <a:endParaRPr lang="es-ES" sz="2800" b="1" dirty="0">
              <a:solidFill>
                <a:srgbClr val="990000"/>
              </a:solidFill>
              <a:latin typeface="+mj-lt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30749690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4644008" y="476672"/>
            <a:ext cx="4680520" cy="864096"/>
          </a:xfrm>
        </p:spPr>
        <p:txBody>
          <a:bodyPr/>
          <a:lstStyle/>
          <a:p>
            <a:r>
              <a:rPr lang="es-ES_tradnl" sz="2800" b="1" dirty="0" smtClean="0">
                <a:solidFill>
                  <a:srgbClr val="990000"/>
                </a:solidFill>
                <a:latin typeface="+mj-lt"/>
              </a:rPr>
              <a:t>CONDICIONES DE CALIDAD PARA PROGRAMAS</a:t>
            </a:r>
            <a:endParaRPr lang="es-ES" sz="2800" b="1" dirty="0">
              <a:solidFill>
                <a:srgbClr val="990000"/>
              </a:solidFill>
              <a:latin typeface="+mj-lt"/>
            </a:endParaRPr>
          </a:p>
        </p:txBody>
      </p:sp>
      <p:graphicFrame>
        <p:nvGraphicFramePr>
          <p:cNvPr id="5" name="4 Diagrama"/>
          <p:cNvGraphicFramePr/>
          <p:nvPr>
            <p:extLst>
              <p:ext uri="{D42A27DB-BD31-4B8C-83A1-F6EECF244321}">
                <p14:modId xmlns="" xmlns:p14="http://schemas.microsoft.com/office/powerpoint/2010/main" val="1195254118"/>
              </p:ext>
            </p:extLst>
          </p:nvPr>
        </p:nvGraphicFramePr>
        <p:xfrm>
          <a:off x="-108520" y="1628800"/>
          <a:ext cx="5256584" cy="41764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4" name="3 Diagrama"/>
          <p:cNvGraphicFramePr/>
          <p:nvPr>
            <p:extLst>
              <p:ext uri="{D42A27DB-BD31-4B8C-83A1-F6EECF244321}">
                <p14:modId xmlns="" xmlns:p14="http://schemas.microsoft.com/office/powerpoint/2010/main" val="1304333235"/>
              </p:ext>
            </p:extLst>
          </p:nvPr>
        </p:nvGraphicFramePr>
        <p:xfrm>
          <a:off x="3922250" y="1628800"/>
          <a:ext cx="5256584" cy="42484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="" xmlns:p14="http://schemas.microsoft.com/office/powerpoint/2010/main" val="39290954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9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189163" y="1196752"/>
            <a:ext cx="5119687" cy="575394"/>
          </a:xfrm>
          <a:prstGeom prst="roundRect">
            <a:avLst>
              <a:gd name="adj" fmla="val 50000"/>
            </a:avLst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none" anchor="ctr"/>
          <a:lstStyle/>
          <a:p>
            <a:pPr>
              <a:defRPr/>
            </a:pPr>
            <a:r>
              <a:rPr lang="en-GB" sz="3200" dirty="0">
                <a:solidFill>
                  <a:schemeClr val="bg2"/>
                </a:solidFill>
                <a:latin typeface="+mj-lt"/>
              </a:rPr>
              <a:t>NUEVO CONTEXTO DEL </a:t>
            </a:r>
            <a:r>
              <a:rPr lang="en-GB" sz="3200" dirty="0" smtClean="0">
                <a:solidFill>
                  <a:schemeClr val="bg2"/>
                </a:solidFill>
                <a:latin typeface="+mj-lt"/>
              </a:rPr>
              <a:t>PAÍS</a:t>
            </a:r>
            <a:endParaRPr lang="en-GB" sz="3200" dirty="0">
              <a:solidFill>
                <a:schemeClr val="bg2"/>
              </a:solidFill>
              <a:latin typeface="+mj-lt"/>
            </a:endParaRPr>
          </a:p>
        </p:txBody>
      </p:sp>
      <p:sp>
        <p:nvSpPr>
          <p:cNvPr id="7" name="6 CuadroTexto"/>
          <p:cNvSpPr txBox="1"/>
          <p:nvPr/>
        </p:nvSpPr>
        <p:spPr>
          <a:xfrm rot="10800000">
            <a:off x="407571" y="1755773"/>
            <a:ext cx="677108" cy="4265514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  <a:prstDash val="dash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vert" wrap="square">
            <a:spAutoFit/>
          </a:bodyPr>
          <a:lstStyle/>
          <a:p>
            <a:pPr algn="ctr">
              <a:defRPr/>
            </a:pPr>
            <a:r>
              <a:rPr lang="es-CO" sz="1600" dirty="0">
                <a:solidFill>
                  <a:schemeClr val="bg1"/>
                </a:solidFill>
                <a:latin typeface="Arial" charset="0"/>
              </a:rPr>
              <a:t>FACTORES QUE INFLUYEN EN </a:t>
            </a:r>
          </a:p>
          <a:p>
            <a:pPr algn="ctr">
              <a:defRPr/>
            </a:pPr>
            <a:r>
              <a:rPr lang="es-CO" sz="1600" dirty="0" smtClean="0">
                <a:solidFill>
                  <a:schemeClr val="bg1"/>
                </a:solidFill>
                <a:latin typeface="Arial" charset="0"/>
              </a:rPr>
              <a:t>EDUCACIÓN POST SECUNDARIA</a:t>
            </a:r>
            <a:endParaRPr lang="es-CO" sz="1600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13318" name="1 CuadroTexto"/>
          <p:cNvSpPr txBox="1">
            <a:spLocks noChangeArrowheads="1"/>
          </p:cNvSpPr>
          <p:nvPr/>
        </p:nvSpPr>
        <p:spPr bwMode="auto">
          <a:xfrm>
            <a:off x="1126157" y="1885041"/>
            <a:ext cx="3960440" cy="43088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/>
            <a:r>
              <a:rPr lang="es-CO" sz="1600" dirty="0"/>
              <a:t>Documentos </a:t>
            </a:r>
            <a:r>
              <a:rPr lang="es-CO" sz="1600" dirty="0" smtClean="0"/>
              <a:t>CONPES</a:t>
            </a:r>
          </a:p>
          <a:p>
            <a:pPr algn="just"/>
            <a:endParaRPr lang="es-CO" sz="1600" dirty="0"/>
          </a:p>
          <a:p>
            <a:pPr marL="342900" lvl="1" indent="-342900" algn="just">
              <a:buFont typeface="Wingdings" pitchFamily="2" charset="2"/>
              <a:buChar char="§"/>
            </a:pPr>
            <a:r>
              <a:rPr lang="es-CO" sz="1600" dirty="0" smtClean="0"/>
              <a:t>81: Consolidación del Sistema de Formación  para el Trabajo, del 2004</a:t>
            </a:r>
          </a:p>
          <a:p>
            <a:pPr marL="342900" indent="-342900" algn="just">
              <a:buFont typeface="Wingdings" pitchFamily="2" charset="2"/>
              <a:buChar char="§"/>
            </a:pPr>
            <a:endParaRPr lang="es-CO" sz="1600" dirty="0" smtClean="0"/>
          </a:p>
          <a:p>
            <a:pPr marL="342900" indent="-342900" algn="just">
              <a:buFont typeface="Wingdings" pitchFamily="2" charset="2"/>
              <a:buChar char="§"/>
            </a:pPr>
            <a:r>
              <a:rPr lang="es-CO" sz="1600" dirty="0" smtClean="0"/>
              <a:t>3527:Política Nacional </a:t>
            </a:r>
            <a:r>
              <a:rPr lang="es-CO" sz="1600" dirty="0"/>
              <a:t>de </a:t>
            </a:r>
            <a:r>
              <a:rPr lang="es-CO" sz="1600" dirty="0" smtClean="0"/>
              <a:t>Competitividad, del 2008.</a:t>
            </a:r>
            <a:endParaRPr lang="es-CO" sz="1600" dirty="0"/>
          </a:p>
          <a:p>
            <a:pPr marL="342900" indent="-342900" algn="just">
              <a:buFont typeface="Wingdings" pitchFamily="2" charset="2"/>
              <a:buChar char="§"/>
            </a:pPr>
            <a:endParaRPr lang="es-CO" sz="1600" dirty="0"/>
          </a:p>
          <a:p>
            <a:pPr marL="342900" indent="-342900" algn="just">
              <a:buFont typeface="Wingdings" pitchFamily="2" charset="2"/>
              <a:buChar char="§"/>
            </a:pPr>
            <a:r>
              <a:rPr lang="es-CO" sz="1600" dirty="0"/>
              <a:t>3582: Política </a:t>
            </a:r>
            <a:r>
              <a:rPr lang="es-CO" sz="1600" dirty="0" smtClean="0"/>
              <a:t>Nacional </a:t>
            </a:r>
            <a:r>
              <a:rPr lang="es-CO" sz="1600" dirty="0"/>
              <a:t>de </a:t>
            </a:r>
            <a:r>
              <a:rPr lang="es-CO" sz="1600" dirty="0" smtClean="0"/>
              <a:t>Ciencia</a:t>
            </a:r>
            <a:r>
              <a:rPr lang="es-CO" sz="1600" dirty="0"/>
              <a:t>, </a:t>
            </a:r>
            <a:r>
              <a:rPr lang="es-CO" sz="1600" dirty="0" smtClean="0"/>
              <a:t>Tecnología </a:t>
            </a:r>
            <a:r>
              <a:rPr lang="es-CO" sz="1600" dirty="0"/>
              <a:t>e </a:t>
            </a:r>
            <a:r>
              <a:rPr lang="es-CO" sz="1600" dirty="0" smtClean="0"/>
              <a:t>Innovación, del 2009.</a:t>
            </a:r>
            <a:endParaRPr lang="es-CO" sz="1600" dirty="0"/>
          </a:p>
          <a:p>
            <a:pPr marL="342900" indent="-342900" algn="just">
              <a:buFont typeface="Wingdings" pitchFamily="2" charset="2"/>
              <a:buChar char="§"/>
            </a:pPr>
            <a:endParaRPr lang="es-CO" sz="1600" dirty="0"/>
          </a:p>
          <a:p>
            <a:pPr marL="342900" indent="-342900" algn="just">
              <a:buFont typeface="Wingdings" pitchFamily="2" charset="2"/>
              <a:buChar char="§"/>
            </a:pPr>
            <a:r>
              <a:rPr lang="es-CO" sz="1600" dirty="0"/>
              <a:t>3674: Lineamientos de política para el </a:t>
            </a:r>
            <a:r>
              <a:rPr lang="es-CO" sz="1600" dirty="0" smtClean="0"/>
              <a:t>Fortalecimiento </a:t>
            </a:r>
            <a:r>
              <a:rPr lang="es-CO" sz="1600" dirty="0"/>
              <a:t>del </a:t>
            </a:r>
            <a:r>
              <a:rPr lang="es-CO" sz="1600" dirty="0" smtClean="0"/>
              <a:t>Sistema </a:t>
            </a:r>
            <a:r>
              <a:rPr lang="es-CO" sz="1600" dirty="0"/>
              <a:t>de </a:t>
            </a:r>
            <a:r>
              <a:rPr lang="es-CO" sz="1600" dirty="0" smtClean="0"/>
              <a:t>Formación </a:t>
            </a:r>
            <a:r>
              <a:rPr lang="es-CO" sz="1600" dirty="0"/>
              <a:t>de </a:t>
            </a:r>
            <a:r>
              <a:rPr lang="es-CO" sz="1600" dirty="0" smtClean="0"/>
              <a:t>Capital Humano SFCH, del 2010.</a:t>
            </a:r>
            <a:endParaRPr lang="es-CO" sz="1600" dirty="0"/>
          </a:p>
          <a:p>
            <a:pPr marL="800100" lvl="1" indent="-342900" algn="just">
              <a:buFont typeface="Wingdings" pitchFamily="2" charset="2"/>
              <a:buChar char="§"/>
            </a:pPr>
            <a:endParaRPr lang="es-CO" sz="1800" dirty="0"/>
          </a:p>
        </p:txBody>
      </p:sp>
      <p:grpSp>
        <p:nvGrpSpPr>
          <p:cNvPr id="5" name="2 Grupo"/>
          <p:cNvGrpSpPr>
            <a:grpSpLocks/>
          </p:cNvGrpSpPr>
          <p:nvPr/>
        </p:nvGrpSpPr>
        <p:grpSpPr bwMode="auto">
          <a:xfrm>
            <a:off x="5508131" y="2395522"/>
            <a:ext cx="3600373" cy="506357"/>
            <a:chOff x="0" y="0"/>
            <a:chExt cx="7858180" cy="1005847"/>
          </a:xfrm>
          <a:solidFill>
            <a:schemeClr val="accent2">
              <a:lumMod val="75000"/>
            </a:schemeClr>
          </a:solidFill>
        </p:grpSpPr>
        <p:sp>
          <p:nvSpPr>
            <p:cNvPr id="6" name="5 Rectángulo redondeado"/>
            <p:cNvSpPr/>
            <p:nvPr/>
          </p:nvSpPr>
          <p:spPr>
            <a:xfrm>
              <a:off x="0" y="0"/>
              <a:ext cx="7858180" cy="1005847"/>
            </a:xfrm>
            <a:prstGeom prst="roundRect">
              <a:avLst>
                <a:gd name="adj" fmla="val 10000"/>
              </a:avLst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3">
                <a:hueOff val="0"/>
                <a:satOff val="0"/>
                <a:lumOff val="0"/>
                <a:alphaOff val="0"/>
              </a:schemeClr>
            </a:fillRef>
            <a:effectRef idx="3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8" name="7 Rectángulo"/>
            <p:cNvSpPr/>
            <p:nvPr/>
          </p:nvSpPr>
          <p:spPr>
            <a:xfrm>
              <a:off x="1522906" y="120093"/>
              <a:ext cx="6335274" cy="885754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8580" tIns="68580" rIns="68580" bIns="68580"/>
            <a:lstStyle/>
            <a:p>
              <a:pPr algn="just" defTabSz="80010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s-CO" sz="2000" b="1" dirty="0" smtClean="0">
                  <a:solidFill>
                    <a:srgbClr val="FFFFCC"/>
                  </a:solidFill>
                </a:rPr>
                <a:t>   Pertinencia</a:t>
              </a:r>
              <a:endParaRPr lang="es-CO" sz="1800" dirty="0">
                <a:solidFill>
                  <a:srgbClr val="FFFFCC"/>
                </a:solidFill>
              </a:endParaRPr>
            </a:p>
          </p:txBody>
        </p:sp>
      </p:grpSp>
      <p:grpSp>
        <p:nvGrpSpPr>
          <p:cNvPr id="9" name="3 Grupo"/>
          <p:cNvGrpSpPr>
            <a:grpSpLocks/>
          </p:cNvGrpSpPr>
          <p:nvPr/>
        </p:nvGrpSpPr>
        <p:grpSpPr bwMode="auto">
          <a:xfrm>
            <a:off x="5508132" y="3080615"/>
            <a:ext cx="3600372" cy="510099"/>
            <a:chOff x="0" y="974329"/>
            <a:chExt cx="7858179" cy="885754"/>
          </a:xfrm>
          <a:solidFill>
            <a:srgbClr val="996633"/>
          </a:solidFill>
        </p:grpSpPr>
        <p:sp>
          <p:nvSpPr>
            <p:cNvPr id="10" name="9 Rectángulo redondeado"/>
            <p:cNvSpPr/>
            <p:nvPr/>
          </p:nvSpPr>
          <p:spPr>
            <a:xfrm>
              <a:off x="0" y="974329"/>
              <a:ext cx="7858179" cy="885754"/>
            </a:xfrm>
            <a:prstGeom prst="roundRect">
              <a:avLst>
                <a:gd name="adj" fmla="val 10000"/>
              </a:avLst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3">
                <a:hueOff val="2812566"/>
                <a:satOff val="-4220"/>
                <a:lumOff val="-686"/>
                <a:alphaOff val="0"/>
              </a:schemeClr>
            </a:fillRef>
            <a:effectRef idx="3">
              <a:schemeClr val="accent3">
                <a:hueOff val="2812566"/>
                <a:satOff val="-4220"/>
                <a:lumOff val="-686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1" name="10 Rectángulo"/>
            <p:cNvSpPr/>
            <p:nvPr/>
          </p:nvSpPr>
          <p:spPr>
            <a:xfrm>
              <a:off x="1522906" y="974329"/>
              <a:ext cx="6335273" cy="885754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8580" tIns="68580" rIns="68580" bIns="68580"/>
            <a:lstStyle/>
            <a:p>
              <a:pPr algn="just" defTabSz="800100">
                <a:spcAft>
                  <a:spcPct val="35000"/>
                </a:spcAft>
                <a:defRPr/>
              </a:pPr>
              <a:r>
                <a:rPr lang="es-CO" sz="2000" b="1" dirty="0" smtClean="0">
                  <a:solidFill>
                    <a:srgbClr val="FFFFCC"/>
                  </a:solidFill>
                </a:rPr>
                <a:t>   Calidad</a:t>
              </a:r>
              <a:endParaRPr lang="es-CO" sz="1800" dirty="0">
                <a:solidFill>
                  <a:srgbClr val="FFFFCC"/>
                </a:solidFill>
              </a:endParaRPr>
            </a:p>
          </p:txBody>
        </p:sp>
      </p:grpSp>
      <p:grpSp>
        <p:nvGrpSpPr>
          <p:cNvPr id="12" name="4 Grupo"/>
          <p:cNvGrpSpPr>
            <a:grpSpLocks/>
          </p:cNvGrpSpPr>
          <p:nvPr/>
        </p:nvGrpSpPr>
        <p:grpSpPr bwMode="auto">
          <a:xfrm>
            <a:off x="5508132" y="3799828"/>
            <a:ext cx="3600372" cy="501849"/>
            <a:chOff x="0" y="1920988"/>
            <a:chExt cx="7858179" cy="885754"/>
          </a:xfrm>
          <a:solidFill>
            <a:schemeClr val="bg2">
              <a:lumMod val="75000"/>
            </a:schemeClr>
          </a:solidFill>
        </p:grpSpPr>
        <p:sp>
          <p:nvSpPr>
            <p:cNvPr id="13" name="12 Rectángulo redondeado"/>
            <p:cNvSpPr/>
            <p:nvPr/>
          </p:nvSpPr>
          <p:spPr>
            <a:xfrm>
              <a:off x="0" y="1920988"/>
              <a:ext cx="7858179" cy="885754"/>
            </a:xfrm>
            <a:prstGeom prst="roundRect">
              <a:avLst>
                <a:gd name="adj" fmla="val 10000"/>
              </a:avLst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3">
                <a:hueOff val="5625132"/>
                <a:satOff val="-8440"/>
                <a:lumOff val="-1373"/>
                <a:alphaOff val="0"/>
              </a:schemeClr>
            </a:fillRef>
            <a:effectRef idx="3">
              <a:schemeClr val="accent3">
                <a:hueOff val="5625132"/>
                <a:satOff val="-8440"/>
                <a:lumOff val="-1373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4" name="13 Rectángulo"/>
            <p:cNvSpPr/>
            <p:nvPr/>
          </p:nvSpPr>
          <p:spPr>
            <a:xfrm>
              <a:off x="1596931" y="1920988"/>
              <a:ext cx="6198413" cy="635596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8580" tIns="68580" rIns="68580" bIns="68580"/>
            <a:lstStyle/>
            <a:p>
              <a:pPr algn="just" defTabSz="80010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s-ES" sz="2000" b="1" dirty="0" smtClean="0">
                  <a:solidFill>
                    <a:schemeClr val="tx1"/>
                  </a:solidFill>
                </a:rPr>
                <a:t>   Bilingüismo</a:t>
              </a:r>
              <a:endParaRPr lang="es-CO" sz="18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5" name="5 Grupo"/>
          <p:cNvGrpSpPr>
            <a:grpSpLocks/>
          </p:cNvGrpSpPr>
          <p:nvPr/>
        </p:nvGrpSpPr>
        <p:grpSpPr bwMode="auto">
          <a:xfrm>
            <a:off x="5508131" y="4480463"/>
            <a:ext cx="3600373" cy="509335"/>
            <a:chOff x="0" y="2922989"/>
            <a:chExt cx="7858179" cy="885754"/>
          </a:xfrm>
          <a:solidFill>
            <a:schemeClr val="bg2">
              <a:lumMod val="90000"/>
            </a:schemeClr>
          </a:solidFill>
        </p:grpSpPr>
        <p:sp>
          <p:nvSpPr>
            <p:cNvPr id="16" name="15 Rectángulo redondeado"/>
            <p:cNvSpPr/>
            <p:nvPr/>
          </p:nvSpPr>
          <p:spPr>
            <a:xfrm>
              <a:off x="0" y="2922989"/>
              <a:ext cx="7858179" cy="885754"/>
            </a:xfrm>
            <a:prstGeom prst="roundRect">
              <a:avLst>
                <a:gd name="adj" fmla="val 10000"/>
              </a:avLst>
            </a:prstGeom>
            <a:grpFill/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3">
                <a:hueOff val="8437698"/>
                <a:satOff val="-12660"/>
                <a:lumOff val="-2059"/>
                <a:alphaOff val="0"/>
              </a:schemeClr>
            </a:fillRef>
            <a:effectRef idx="3">
              <a:schemeClr val="accent3">
                <a:hueOff val="8437698"/>
                <a:satOff val="-12660"/>
                <a:lumOff val="-2059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7" name="16 Rectángulo"/>
            <p:cNvSpPr/>
            <p:nvPr/>
          </p:nvSpPr>
          <p:spPr>
            <a:xfrm>
              <a:off x="1596932" y="2922989"/>
              <a:ext cx="6198414" cy="885754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68580" tIns="68580" rIns="68580" bIns="68580"/>
            <a:lstStyle/>
            <a:p>
              <a:pPr algn="just" defTabSz="800100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s-CO" sz="2000" b="1" dirty="0" smtClean="0">
                  <a:solidFill>
                    <a:schemeClr val="tx1"/>
                  </a:solidFill>
                </a:rPr>
                <a:t>   Apuestas Regionales</a:t>
              </a:r>
              <a:endParaRPr lang="es-CO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18" name="17 Rectángulo redondeado"/>
          <p:cNvSpPr/>
          <p:nvPr/>
        </p:nvSpPr>
        <p:spPr>
          <a:xfrm>
            <a:off x="5508104" y="5199183"/>
            <a:ext cx="3600400" cy="462065"/>
          </a:xfrm>
          <a:prstGeom prst="roundRect">
            <a:avLst>
              <a:gd name="adj" fmla="val 10000"/>
            </a:avLst>
          </a:prstGeom>
          <a:solidFill>
            <a:srgbClr val="E7D287"/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3">
            <a:schemeClr val="accent3">
              <a:hueOff val="11250264"/>
              <a:satOff val="-16880"/>
              <a:lumOff val="-2745"/>
              <a:alphaOff val="0"/>
            </a:schemeClr>
          </a:effectRef>
          <a:fontRef idx="minor">
            <a:schemeClr val="lt1"/>
          </a:fontRef>
        </p:style>
      </p:sp>
      <p:sp>
        <p:nvSpPr>
          <p:cNvPr id="19" name="18 Rectángulo"/>
          <p:cNvSpPr/>
          <p:nvPr/>
        </p:nvSpPr>
        <p:spPr>
          <a:xfrm>
            <a:off x="5599434" y="5211120"/>
            <a:ext cx="4013126" cy="419244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68580" tIns="68580" rIns="68580" bIns="68580"/>
          <a:lstStyle/>
          <a:p>
            <a:pPr algn="just" defTabSz="800100">
              <a:lnSpc>
                <a:spcPct val="90000"/>
              </a:lnSpc>
              <a:spcAft>
                <a:spcPct val="35000"/>
              </a:spcAft>
              <a:defRPr/>
            </a:pPr>
            <a:r>
              <a:rPr lang="es-CO" sz="2000" b="1" dirty="0" smtClean="0">
                <a:solidFill>
                  <a:schemeClr val="tx1"/>
                </a:solidFill>
              </a:rPr>
              <a:t>              Acceso </a:t>
            </a:r>
            <a:r>
              <a:rPr lang="es-CO" sz="2000" b="1" dirty="0">
                <a:solidFill>
                  <a:schemeClr val="tx1"/>
                </a:solidFill>
              </a:rPr>
              <a:t>a la </a:t>
            </a:r>
            <a:r>
              <a:rPr lang="es-CO" sz="2000" b="1" dirty="0" smtClean="0">
                <a:solidFill>
                  <a:schemeClr val="tx1"/>
                </a:solidFill>
              </a:rPr>
              <a:t>educación</a:t>
            </a:r>
            <a:endParaRPr lang="es-CO" sz="1800" dirty="0">
              <a:solidFill>
                <a:schemeClr val="tx1"/>
              </a:solidFill>
            </a:endParaRPr>
          </a:p>
        </p:txBody>
      </p:sp>
      <p:sp>
        <p:nvSpPr>
          <p:cNvPr id="20" name="19 Rectángulo redondeado"/>
          <p:cNvSpPr/>
          <p:nvPr/>
        </p:nvSpPr>
        <p:spPr>
          <a:xfrm>
            <a:off x="5628965" y="3830725"/>
            <a:ext cx="721220" cy="379598"/>
          </a:xfrm>
          <a:prstGeom prst="roundRect">
            <a:avLst>
              <a:gd name="adj" fmla="val 10000"/>
            </a:avLst>
          </a:prstGeom>
          <a:blipFill rotWithShape="0">
            <a:blip r:embed="rId3" cstate="print"/>
            <a:stretch>
              <a:fillRect/>
            </a:stretch>
          </a:blip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3">
            <a:schemeClr val="accent3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1" name="20 Rectángulo redondeado"/>
          <p:cNvSpPr/>
          <p:nvPr/>
        </p:nvSpPr>
        <p:spPr>
          <a:xfrm>
            <a:off x="5628965" y="3154984"/>
            <a:ext cx="721220" cy="402517"/>
          </a:xfrm>
          <a:prstGeom prst="roundRect">
            <a:avLst>
              <a:gd name="adj" fmla="val 10000"/>
            </a:avLst>
          </a:prstGeom>
          <a:blipFill rotWithShape="0">
            <a:blip r:embed="rId4" cstate="print"/>
            <a:stretch>
              <a:fillRect/>
            </a:stretch>
          </a:blip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3">
            <a:schemeClr val="accent3">
              <a:tint val="50000"/>
              <a:hueOff val="2688049"/>
              <a:satOff val="-3527"/>
              <a:lumOff val="-347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2" name="21 Rectángulo redondeado"/>
          <p:cNvSpPr/>
          <p:nvPr/>
        </p:nvSpPr>
        <p:spPr>
          <a:xfrm>
            <a:off x="5641340" y="4531688"/>
            <a:ext cx="721220" cy="406885"/>
          </a:xfrm>
          <a:prstGeom prst="roundRect">
            <a:avLst>
              <a:gd name="adj" fmla="val 10000"/>
            </a:avLst>
          </a:prstGeom>
          <a:blipFill rotWithShape="0">
            <a:blip r:embed="rId5" cstate="print"/>
            <a:stretch>
              <a:fillRect/>
            </a:stretch>
          </a:blip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3">
            <a:schemeClr val="accent3">
              <a:tint val="50000"/>
              <a:hueOff val="5376097"/>
              <a:satOff val="-7054"/>
              <a:lumOff val="-694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3" name="22 Rectángulo redondeado"/>
          <p:cNvSpPr/>
          <p:nvPr/>
        </p:nvSpPr>
        <p:spPr>
          <a:xfrm>
            <a:off x="5580112" y="2485798"/>
            <a:ext cx="721220" cy="369505"/>
          </a:xfrm>
          <a:prstGeom prst="roundRect">
            <a:avLst>
              <a:gd name="adj" fmla="val 10000"/>
            </a:avLst>
          </a:prstGeom>
          <a:blipFill rotWithShape="0">
            <a:blip r:embed="rId6" cstate="print"/>
            <a:stretch>
              <a:fillRect/>
            </a:stretch>
          </a:blip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3">
            <a:schemeClr val="accent3">
              <a:tint val="50000"/>
              <a:hueOff val="8064146"/>
              <a:satOff val="-10581"/>
              <a:lumOff val="-1041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4" name="23 Rectángulo redondeado"/>
          <p:cNvSpPr/>
          <p:nvPr/>
        </p:nvSpPr>
        <p:spPr>
          <a:xfrm>
            <a:off x="5650981" y="5242259"/>
            <a:ext cx="721221" cy="305152"/>
          </a:xfrm>
          <a:prstGeom prst="roundRect">
            <a:avLst>
              <a:gd name="adj" fmla="val 10000"/>
            </a:avLst>
          </a:prstGeom>
          <a:blipFill rotWithShape="0">
            <a:blip r:embed="rId7" cstate="print"/>
            <a:stretch>
              <a:fillRect/>
            </a:stretch>
          </a:blip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3">
            <a:schemeClr val="accent3">
              <a:tint val="50000"/>
              <a:hueOff val="10752195"/>
              <a:satOff val="-14108"/>
              <a:lumOff val="-1388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</p:spTree>
    <p:extLst>
      <p:ext uri="{BB962C8B-B14F-4D97-AF65-F5344CB8AC3E}">
        <p14:creationId xmlns="" xmlns:p14="http://schemas.microsoft.com/office/powerpoint/2010/main" val="28718267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pWoDgFqEyoFsn_uWThe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Fq_emdRk6JKWnCtDDhX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pWoDgFqEyoFsn_uWThe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JUsS3GwEGBrF4cHkASP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pWoDgFqEyoFsn_uWThe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JUsS3GwEGBrF4cHkASP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pWoDgFqEyoFsn_uWThe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pWoDgFqEyoFsn_uWThe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JUsS3GwEGBrF4cHkASP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pWoDgFqEyoFsn_uWThe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JUsS3GwEGBrF4cHkASP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JUsS3GwEGBrF4cHkASP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pWoDgFqEyoFsn_uWThe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JUsS3GwEGBrF4cHkASP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E5gncGg0WUHtKLM_VZW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KcWLN4IEiiMRPFSklz0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nvz8C1qk.lVCe2uRP2d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Fq_emdRk6JKWnCtDDhX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pWoDgFqEyoFsn_uWThe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JUsS3GwEGBrF4cHkASP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pWoDgFqEyoFsn_uWThe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JUsS3GwEGBrF4cHkASP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pWoDgFqEyoFsn_uWThe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pWoDgFqEyoFsn_uWThe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JUsS3GwEGBrF4cHkASP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pWoDgFqEyoFsn_uWThe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JUsS3GwEGBrF4cHkASP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pWoDgFqEyoFsn_uWThe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JUsS3GwEGBrF4cHkASP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E5gncGg0WUHtKLM_VZW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KcWLN4IEiiMRPFSklz0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nvz8C1qk.lVCe2uRP2d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Fq_emdRk6JKWnCtDDhX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JUsS3GwEGBrF4cHkASP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pWoDgFqEyoFsn_uWThe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JUsS3GwEGBrF4cHkASP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pWoDgFqEyoFsn_uWThe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JUsS3GwEGBrF4cHkASP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pWoDgFqEyoFsn_uWThe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JUsS3GwEGBrF4cHkASP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pWoDgFqEyoFsn_uWThe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JUsS3GwEGBrF4cHkASP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pWoDgFqEyoFsn_uWThe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JUsS3GwEGBrF4cHkASP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pWoDgFqEyoFsn_uWThe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E5gncGg0WUHtKLM_VZW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KcWLN4IEiiMRPFSklz0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nvz8C1qk.lVCe2uRP2d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Fq_emdRk6JKWnCtDDhX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pWoDgFqEyoFsn_uWThe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JUsS3GwEGBrF4cHkASP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pWoDgFqEyoFsn_uWThe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JUsS3GwEGBrF4cHkASP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pWoDgFqEyoFsn_uWThe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JUsS3GwEGBrF4cHkASP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JUsS3GwEGBrF4cHkASP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pWoDgFqEyoFsn_uWThe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JUsS3GwEGBrF4cHkASP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pWoDgFqEyoFsn_uWThe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JUsS3GwEGBrF4cHkASP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E5gncGg0WUHtKLM_VZW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KcWLN4IEiiMRPFSklz0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nvz8C1qk.lVCe2uRP2d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Fq_emdRk6JKWnCtDDhX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pWoDgFqEyoFsn_uWThe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JUsS3GwEGBrF4cHkASP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E5gncGg0WUHtKLM_VZW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pWoDgFqEyoFsn_uWThe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JUsS3GwEGBrF4cHkASP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KcWLN4IEiiMRPFSklz0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nvz8C1qk.lVCe2uRP2dA"/>
</p:tagLst>
</file>

<file path=ppt/theme/theme1.xml><?xml version="1.0" encoding="utf-8"?>
<a:theme xmlns:a="http://schemas.openxmlformats.org/drawingml/2006/main" name="1_Diseño personalizado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3_Diseño personalizado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2_Diseño personalizado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Austin">
      <a:fillStyleLst>
        <a:solidFill>
          <a:schemeClr val="phClr"/>
        </a:solidFill>
        <a:gradFill rotWithShape="1">
          <a:gsLst>
            <a:gs pos="0">
              <a:schemeClr val="phClr">
                <a:tint val="20000"/>
                <a:satMod val="180000"/>
                <a:lumMod val="98000"/>
              </a:schemeClr>
            </a:gs>
            <a:gs pos="40000">
              <a:schemeClr val="phClr">
                <a:tint val="30000"/>
                <a:satMod val="260000"/>
                <a:lumMod val="84000"/>
              </a:schemeClr>
            </a:gs>
            <a:gs pos="100000">
              <a:schemeClr val="phClr">
                <a:tint val="100000"/>
                <a:satMod val="110000"/>
                <a:lumMod val="100000"/>
              </a:schemeClr>
            </a:gs>
          </a:gsLst>
          <a:lin ang="5040000" scaled="1"/>
        </a:gradFill>
        <a:gradFill rotWithShape="1">
          <a:gsLst>
            <a:gs pos="0">
              <a:schemeClr val="phClr"/>
            </a:gs>
            <a:gs pos="100000">
              <a:schemeClr val="phClr">
                <a:shade val="75000"/>
                <a:satMod val="120000"/>
                <a:lumMod val="90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50800" dist="25400" dir="5400000" rotWithShape="0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20400000"/>
            </a:lightRig>
          </a:scene3d>
          <a:sp3d>
            <a:bevelT w="50800" h="12700" prst="softRound"/>
          </a:sp3d>
        </a:effectStyle>
        <a:effectStyle>
          <a:effectLst>
            <a:outerShdw blurRad="44450" dist="50800" dir="5400000" sx="96000" rotWithShape="0">
              <a:srgbClr val="000000">
                <a:alpha val="34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20400000"/>
            </a:lightRig>
          </a:scene3d>
          <a:sp3d contourW="15875" prstMaterial="metal">
            <a:bevelT w="101600" h="25400" prst="softRound"/>
            <a:contourClr>
              <a:schemeClr val="phClr">
                <a:shade val="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</a:spPr>
      <a:bodyPr wrap="none" lIns="91440" tIns="45720" rIns="91440" bIns="45720">
        <a:spAutoFit/>
        <a:scene3d>
          <a:camera prst="orthographicFront">
            <a:rot lat="0" lon="0" rev="0"/>
          </a:camera>
          <a:lightRig rig="contrasting" dir="t">
            <a:rot lat="0" lon="0" rev="4500000"/>
          </a:lightRig>
        </a:scene3d>
        <a:sp3d contourW="6350" prstMaterial="metal">
          <a:bevelT w="127000" h="31750" prst="relaxedInset"/>
          <a:contourClr>
            <a:schemeClr val="accent1">
              <a:shade val="75000"/>
            </a:schemeClr>
          </a:contourClr>
        </a:sp3d>
      </a:bodyPr>
      <a:lstStyle>
        <a:defPPr algn="ctr">
          <a:defRPr sz="2000" cap="all" dirty="0" smtClean="0">
            <a:ln w="0"/>
            <a:gradFill flip="none">
              <a:gsLst>
                <a:gs pos="0">
                  <a:schemeClr val="accent1">
                    <a:tint val="75000"/>
                    <a:shade val="75000"/>
                    <a:satMod val="170000"/>
                  </a:schemeClr>
                </a:gs>
                <a:gs pos="49000">
                  <a:schemeClr val="accent1">
                    <a:tint val="88000"/>
                    <a:shade val="65000"/>
                    <a:satMod val="172000"/>
                  </a:schemeClr>
                </a:gs>
                <a:gs pos="50000">
                  <a:schemeClr val="accent1">
                    <a:shade val="65000"/>
                    <a:satMod val="130000"/>
                  </a:schemeClr>
                </a:gs>
                <a:gs pos="92000">
                  <a:schemeClr val="accent1">
                    <a:shade val="50000"/>
                    <a:satMod val="120000"/>
                  </a:schemeClr>
                </a:gs>
                <a:gs pos="100000">
                  <a:schemeClr val="accent1">
                    <a:shade val="48000"/>
                    <a:satMod val="120000"/>
                  </a:schemeClr>
                </a:gs>
              </a:gsLst>
              <a:lin ang="5400000"/>
            </a:gradFill>
            <a:effectLst>
              <a:reflection blurRad="12700" stA="50000" endPos="50000" dist="5000" dir="5400000" sy="-100000" rotWithShape="0"/>
            </a:effectLst>
            <a:latin typeface="Arial Rounded MT Bold" pitchFamily="34" charset="0"/>
          </a:defRPr>
        </a:defPPr>
      </a:lstStyle>
    </a:spDef>
  </a:objectDefaults>
  <a:extraClrSchemeLst/>
</a:theme>
</file>

<file path=ppt/theme/theme4.xml><?xml version="1.0" encoding="utf-8"?>
<a:theme xmlns:a="http://schemas.openxmlformats.org/drawingml/2006/main" name="Presentación Ofiicial ME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4_Diseño personalizado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5_Diseño personalizado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LongProperties xmlns="http://schemas.microsoft.com/office/2006/metadata/longProperties"/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FF633887F102C643A1C1EC6573341BEB" ma:contentTypeVersion="0" ma:contentTypeDescription="Crear nuevo documento." ma:contentTypeScope="" ma:versionID="728de8a5e371a84624f93a462b5c8aa9">
  <xsd:schema xmlns:xsd="http://www.w3.org/2001/XMLSchema" xmlns:p="http://schemas.microsoft.com/office/2006/metadata/properties" targetNamespace="http://schemas.microsoft.com/office/2006/metadata/properties" ma:root="true" ma:fieldsID="27f9851a2d8c981023976182fd07483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 ma:readOnly="true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5C05E05C-4E07-4A93-AC54-E6E37CCB49CA}">
  <ds:schemaRefs>
    <ds:schemaRef ds:uri="http://schemas.microsoft.com/office/2006/metadata/longProperties"/>
  </ds:schemaRefs>
</ds:datastoreItem>
</file>

<file path=customXml/itemProps2.xml><?xml version="1.0" encoding="utf-8"?>
<ds:datastoreItem xmlns:ds="http://schemas.openxmlformats.org/officeDocument/2006/customXml" ds:itemID="{83F6F86F-8847-401A-AD8A-7DEB1A5A0BF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3.xml><?xml version="1.0" encoding="utf-8"?>
<ds:datastoreItem xmlns:ds="http://schemas.openxmlformats.org/officeDocument/2006/customXml" ds:itemID="{73373E09-31A7-4E80-AF4A-E61CDF645448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456622AC-20A1-4FF2-9ED2-C602BFB4351F}">
  <ds:schemaRefs>
    <ds:schemaRef ds:uri="http://www.w3.org/XML/1998/namespace"/>
    <ds:schemaRef ds:uri="http://purl.org/dc/dcmitype/"/>
    <ds:schemaRef ds:uri="http://purl.org/dc/elements/1.1/"/>
    <ds:schemaRef ds:uri="http://schemas.openxmlformats.org/package/2006/metadata/core-properties"/>
    <ds:schemaRef ds:uri="http://purl.org/dc/terms/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9558</TotalTime>
  <Words>4029</Words>
  <Application>Microsoft Office PowerPoint</Application>
  <PresentationFormat>Presentación en pantalla (4:3)</PresentationFormat>
  <Paragraphs>959</Paragraphs>
  <Slides>60</Slides>
  <Notes>8</Notes>
  <HiddenSlides>0</HiddenSlides>
  <MMClips>0</MMClips>
  <ScaleCrop>false</ScaleCrop>
  <HeadingPairs>
    <vt:vector size="4" baseType="variant">
      <vt:variant>
        <vt:lpstr>Tema</vt:lpstr>
      </vt:variant>
      <vt:variant>
        <vt:i4>6</vt:i4>
      </vt:variant>
      <vt:variant>
        <vt:lpstr>Títulos de diapositiva</vt:lpstr>
      </vt:variant>
      <vt:variant>
        <vt:i4>60</vt:i4>
      </vt:variant>
    </vt:vector>
  </HeadingPairs>
  <TitlesOfParts>
    <vt:vector size="66" baseType="lpstr">
      <vt:lpstr>1_Diseño personalizado</vt:lpstr>
      <vt:lpstr>3_Diseño personalizado</vt:lpstr>
      <vt:lpstr>2_Diseño personalizado</vt:lpstr>
      <vt:lpstr>Presentación Ofiicial MEN</vt:lpstr>
      <vt:lpstr>4_Diseño personalizado</vt:lpstr>
      <vt:lpstr>5_Diseño personalizado</vt:lpstr>
      <vt:lpstr>SISTEMA DE ASEGURAMIENTO DE CALIDAD DE LA EDUCACIÓN PARA EL TRABAJO  Y EL DESARROLLO HUMANO      Nereyda Correa Rosales Bogotá, Marzo 2014</vt:lpstr>
      <vt:lpstr>Contenido</vt:lpstr>
      <vt:lpstr>Diapositiva 3</vt:lpstr>
      <vt:lpstr>Diapositiva 4</vt:lpstr>
      <vt:lpstr>Diapositiva 5</vt:lpstr>
      <vt:lpstr>Diapositiva 6</vt:lpstr>
      <vt:lpstr>Diapositiva 7</vt:lpstr>
      <vt:lpstr>CONDICIONES DE CALIDAD PARA PROGRAMAS</vt:lpstr>
      <vt:lpstr>Diapositiva 9</vt:lpstr>
      <vt:lpstr>POLÍTICA EDUCATIVA 2010 - 2014</vt:lpstr>
      <vt:lpstr>Contenido</vt:lpstr>
      <vt:lpstr>Diapositiva 12</vt:lpstr>
      <vt:lpstr>Diapositiva 13</vt:lpstr>
      <vt:lpstr>Diapositiva 14</vt:lpstr>
      <vt:lpstr>Diapositiva 15</vt:lpstr>
      <vt:lpstr>Diapositiva 16</vt:lpstr>
      <vt:lpstr>Diapositiva 17</vt:lpstr>
      <vt:lpstr>Diapositiva 18</vt:lpstr>
      <vt:lpstr>Diapositiva 19</vt:lpstr>
      <vt:lpstr>Diapositiva 20</vt:lpstr>
      <vt:lpstr>Contenido</vt:lpstr>
      <vt:lpstr>Diapositiva 22</vt:lpstr>
      <vt:lpstr>Contenido</vt:lpstr>
      <vt:lpstr>Diapositiva 24</vt:lpstr>
      <vt:lpstr>Diapositiva 25</vt:lpstr>
      <vt:lpstr>Diapositiva 26</vt:lpstr>
      <vt:lpstr>  Desafíos para el área  </vt:lpstr>
      <vt:lpstr>MODELO DEL SISTEMA DE ASEGURAMIENTO DE CALIDAD ETDH </vt:lpstr>
      <vt:lpstr>Diapositiva 29</vt:lpstr>
      <vt:lpstr>Sistema de Aseguramiento de Calidad de ET - SACET</vt:lpstr>
      <vt:lpstr>PROCEDIMIENTO BÁSICO PARA LA OBTENCIÓN DE LICENCIAS Y APROBACIONES</vt:lpstr>
      <vt:lpstr>Diagrama conceptual del SIACET</vt:lpstr>
      <vt:lpstr>Diapositiva 33</vt:lpstr>
      <vt:lpstr>Diapositiva 34</vt:lpstr>
      <vt:lpstr>Diapositiva 35</vt:lpstr>
      <vt:lpstr>Diapositiva 36</vt:lpstr>
      <vt:lpstr>Diapositiva 37</vt:lpstr>
      <vt:lpstr>Diapositiva 38</vt:lpstr>
      <vt:lpstr>Diapositiva 39</vt:lpstr>
      <vt:lpstr>Diapositiva 40</vt:lpstr>
      <vt:lpstr>Diapositiva 41</vt:lpstr>
      <vt:lpstr>Diapositiva 42</vt:lpstr>
      <vt:lpstr>Conclusiones del convenio</vt:lpstr>
      <vt:lpstr>Diapositiva 44</vt:lpstr>
      <vt:lpstr>Diapositiva 45</vt:lpstr>
      <vt:lpstr>Diapositiva 46</vt:lpstr>
      <vt:lpstr>Diapositiva 47</vt:lpstr>
      <vt:lpstr>Diapositiva 48</vt:lpstr>
      <vt:lpstr>Diapositiva 49</vt:lpstr>
      <vt:lpstr>Diapositiva 50</vt:lpstr>
      <vt:lpstr>Diapositiva 51</vt:lpstr>
      <vt:lpstr>Diapositiva 52</vt:lpstr>
      <vt:lpstr>Diapositiva 53</vt:lpstr>
      <vt:lpstr>Diapositiva 54</vt:lpstr>
      <vt:lpstr>Diapositiva 55</vt:lpstr>
      <vt:lpstr>Diapositiva 56</vt:lpstr>
      <vt:lpstr>Diapositiva 57</vt:lpstr>
      <vt:lpstr>Diapositiva 58</vt:lpstr>
      <vt:lpstr>Diapositiva 59</vt:lpstr>
      <vt:lpstr>Diapositiva 60</vt:lpstr>
    </vt:vector>
  </TitlesOfParts>
  <Company>EMAC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MAC</dc:creator>
  <cp:lastModifiedBy>CAROL</cp:lastModifiedBy>
  <cp:revision>608</cp:revision>
  <cp:lastPrinted>2013-02-27T13:36:36Z</cp:lastPrinted>
  <dcterms:created xsi:type="dcterms:W3CDTF">2010-11-03T23:49:45Z</dcterms:created>
  <dcterms:modified xsi:type="dcterms:W3CDTF">2014-03-14T14:21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">
    <vt:lpwstr>Documento</vt:lpwstr>
  </property>
</Properties>
</file>